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10.xml" ContentType="application/vnd.openxmlformats-officedocument.drawingml.chart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charts/chart9.xml" ContentType="application/vnd.openxmlformats-officedocument.drawingml.chart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rawings/drawing1.xml" ContentType="application/vnd.openxmlformats-officedocument.drawingml.chartshapes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23"/>
  </p:notesMasterIdLst>
  <p:sldIdLst>
    <p:sldId id="498" r:id="rId2"/>
    <p:sldId id="640" r:id="rId3"/>
    <p:sldId id="641" r:id="rId4"/>
    <p:sldId id="639" r:id="rId5"/>
    <p:sldId id="642" r:id="rId6"/>
    <p:sldId id="632" r:id="rId7"/>
    <p:sldId id="646" r:id="rId8"/>
    <p:sldId id="647" r:id="rId9"/>
    <p:sldId id="648" r:id="rId10"/>
    <p:sldId id="649" r:id="rId11"/>
    <p:sldId id="650" r:id="rId12"/>
    <p:sldId id="633" r:id="rId13"/>
    <p:sldId id="634" r:id="rId14"/>
    <p:sldId id="651" r:id="rId15"/>
    <p:sldId id="652" r:id="rId16"/>
    <p:sldId id="637" r:id="rId17"/>
    <p:sldId id="635" r:id="rId18"/>
    <p:sldId id="653" r:id="rId19"/>
    <p:sldId id="615" r:id="rId20"/>
    <p:sldId id="630" r:id="rId21"/>
    <p:sldId id="597" r:id="rId22"/>
  </p:sldIdLst>
  <p:sldSz cx="9144000" cy="6858000" type="screen4x3"/>
  <p:notesSz cx="6797675" cy="9928225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UDG-111" initials="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DE9F7"/>
    <a:srgbClr val="E86E0A"/>
    <a:srgbClr val="EB9F2F"/>
    <a:srgbClr val="FFCCCC"/>
    <a:srgbClr val="FF9999"/>
    <a:srgbClr val="FF7C80"/>
    <a:srgbClr val="FF3399"/>
    <a:srgbClr val="FFFF66"/>
    <a:srgbClr val="66FFFF"/>
    <a:srgbClr val="00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760" autoAdjust="0"/>
    <p:restoredTop sz="94638" autoAdjust="0"/>
  </p:normalViewPr>
  <p:slideViewPr>
    <p:cSldViewPr>
      <p:cViewPr varScale="1">
        <p:scale>
          <a:sx n="88" d="100"/>
          <a:sy n="88" d="100"/>
        </p:scale>
        <p:origin x="-145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254464464745E-2"/>
          <c:w val="0.97210269028871454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338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9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467E-2"/>
                </c:manualLayout>
              </c:layout>
              <c:showVal val="1"/>
            </c:dLbl>
            <c:dLbl>
              <c:idx val="3"/>
              <c:layout>
                <c:manualLayout>
                  <c:x val="5.5813067183816721E-3"/>
                  <c:y val="-2.7266676685918218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 (оценка)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885.3</c:v>
                </c:pt>
                <c:pt idx="1">
                  <c:v>1768.4</c:v>
                </c:pt>
                <c:pt idx="2">
                  <c:v>1660.6</c:v>
                </c:pt>
                <c:pt idx="3">
                  <c:v>1284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218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9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218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218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 (оценка)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527.6</c:v>
                </c:pt>
                <c:pt idx="1">
                  <c:v>1421.7</c:v>
                </c:pt>
                <c:pt idx="2">
                  <c:v>1312.8</c:v>
                </c:pt>
                <c:pt idx="3">
                  <c:v>932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6721E-3"/>
                  <c:y val="-3.4083345857397855E-2"/>
                </c:manualLayout>
              </c:layout>
              <c:showVal val="1"/>
            </c:dLbl>
            <c:dLbl>
              <c:idx val="1"/>
              <c:layout>
                <c:manualLayout>
                  <c:x val="2.2325226873526204E-3"/>
                  <c:y val="-3.4083345857397855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855E-2"/>
                </c:manualLayout>
              </c:layout>
              <c:showVal val="1"/>
            </c:dLbl>
            <c:dLbl>
              <c:idx val="3"/>
              <c:layout>
                <c:manualLayout>
                  <c:x val="7.8138294057343762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 (оценка)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357.7</c:v>
                </c:pt>
                <c:pt idx="1">
                  <c:v>346.7</c:v>
                </c:pt>
                <c:pt idx="2">
                  <c:v>347.8</c:v>
                </c:pt>
                <c:pt idx="3">
                  <c:v>352.1</c:v>
                </c:pt>
              </c:numCache>
            </c:numRef>
          </c:val>
        </c:ser>
        <c:shape val="cylinder"/>
        <c:axId val="67172224"/>
        <c:axId val="67173760"/>
        <c:axId val="0"/>
      </c:bar3DChart>
      <c:catAx>
        <c:axId val="67172224"/>
        <c:scaling>
          <c:orientation val="minMax"/>
        </c:scaling>
        <c:axPos val="b"/>
        <c:tickLblPos val="nextTo"/>
        <c:crossAx val="67173760"/>
        <c:crosses val="autoZero"/>
        <c:auto val="1"/>
        <c:lblAlgn val="ctr"/>
        <c:lblOffset val="100"/>
      </c:catAx>
      <c:valAx>
        <c:axId val="67173760"/>
        <c:scaling>
          <c:orientation val="minMax"/>
        </c:scaling>
        <c:delete val="1"/>
        <c:axPos val="l"/>
        <c:numFmt formatCode="0.0" sourceLinked="1"/>
        <c:tickLblPos val="none"/>
        <c:crossAx val="6717222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148"/>
          <c:w val="0.77846996666312163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4.7041504210837304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5.5555555555555558E-3"/>
                  <c:y val="-0.16120484638934093"/>
                </c:manualLayout>
              </c:layout>
              <c:showVal val="1"/>
            </c:dLbl>
            <c:dLbl>
              <c:idx val="1"/>
              <c:layout>
                <c:manualLayout>
                  <c:x val="5.5555555555555558E-3"/>
                  <c:y val="-0.1214010626001359"/>
                </c:manualLayout>
              </c:layout>
              <c:showVal val="1"/>
            </c:dLbl>
            <c:dLbl>
              <c:idx val="2"/>
              <c:layout>
                <c:manualLayout>
                  <c:x val="9.7222222222222224E-3"/>
                  <c:y val="-4.7764352498414125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 (оценка)</c:v>
                </c:pt>
                <c:pt idx="3">
                  <c:v>на 01.01.2022 г.</c:v>
                </c:pt>
                <c:pt idx="4">
                  <c:v>на 01.01.2023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104082432"/>
        <c:axId val="104084224"/>
        <c:axId val="102624768"/>
      </c:area3DChart>
      <c:catAx>
        <c:axId val="104082432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04084224"/>
        <c:crosses val="autoZero"/>
        <c:auto val="1"/>
        <c:lblAlgn val="ctr"/>
        <c:lblOffset val="100"/>
      </c:catAx>
      <c:valAx>
        <c:axId val="104084224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04082432"/>
        <c:crosses val="autoZero"/>
        <c:crossBetween val="midCat"/>
      </c:valAx>
      <c:serAx>
        <c:axId val="102624768"/>
        <c:scaling>
          <c:orientation val="minMax"/>
        </c:scaling>
        <c:delete val="1"/>
        <c:axPos val="b"/>
        <c:tickLblPos val="none"/>
        <c:crossAx val="104084224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338342959041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445E-2"/>
                </c:manualLayout>
              </c:layout>
              <c:showVal val="1"/>
            </c:dLbl>
            <c:dLbl>
              <c:idx val="3"/>
              <c:layout>
                <c:manualLayout>
                  <c:x val="5.5813067183816591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670.6</c:v>
                </c:pt>
                <c:pt idx="1">
                  <c:v>637</c:v>
                </c:pt>
                <c:pt idx="2">
                  <c:v>639.6</c:v>
                </c:pt>
                <c:pt idx="3">
                  <c:v>650.2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 и субсидия на финансовое обеспечение решения вопросов местного знач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409.2</c:v>
                </c:pt>
                <c:pt idx="1">
                  <c:v>301.10000000000002</c:v>
                </c:pt>
                <c:pt idx="2">
                  <c:v>245.3</c:v>
                </c:pt>
                <c:pt idx="3">
                  <c:v>238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6591E-3"/>
                  <c:y val="-3.4083345857397612E-2"/>
                </c:manualLayout>
              </c:layout>
              <c:showVal val="1"/>
            </c:dLbl>
            <c:dLbl>
              <c:idx val="1"/>
              <c:layout>
                <c:manualLayout>
                  <c:x val="2.2325226873526052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612E-2"/>
                </c:manualLayout>
              </c:layout>
              <c:showVal val="1"/>
            </c:dLbl>
            <c:dLbl>
              <c:idx val="3"/>
              <c:layout>
                <c:manualLayout>
                  <c:x val="7.8138294057343606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.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0046352093086703E-2"/>
                  <c:y val="-4.0900015028876913E-2"/>
                </c:manualLayout>
              </c:layout>
              <c:showVal val="1"/>
            </c:dLbl>
            <c:dLbl>
              <c:idx val="1"/>
              <c:layout>
                <c:manualLayout>
                  <c:x val="7.8138294057343606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2.2156397094714092E-2"/>
                  <c:y val="-3.7282205509436249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60.5</c:v>
                </c:pt>
                <c:pt idx="1">
                  <c:v>67.2</c:v>
                </c:pt>
                <c:pt idx="2">
                  <c:v>67.8</c:v>
                </c:pt>
                <c:pt idx="3">
                  <c:v>16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3399"/>
            </a:solidFill>
          </c:spPr>
          <c:dLbls>
            <c:dLbl>
              <c:idx val="3"/>
              <c:layout>
                <c:manualLayout>
                  <c:x val="4.9468252799326401E-2"/>
                  <c:y val="0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396.2</c:v>
                </c:pt>
                <c:pt idx="1">
                  <c:v>416.4</c:v>
                </c:pt>
                <c:pt idx="2">
                  <c:v>360.1</c:v>
                </c:pt>
                <c:pt idx="3">
                  <c:v>26.8</c:v>
                </c:pt>
              </c:numCache>
            </c:numRef>
          </c:val>
        </c:ser>
        <c:shape val="cylinder"/>
        <c:axId val="93458432"/>
        <c:axId val="93459968"/>
        <c:axId val="0"/>
      </c:bar3DChart>
      <c:catAx>
        <c:axId val="93458432"/>
        <c:scaling>
          <c:orientation val="minMax"/>
        </c:scaling>
        <c:axPos val="b"/>
        <c:tickLblPos val="nextTo"/>
        <c:crossAx val="93459968"/>
        <c:crosses val="autoZero"/>
        <c:auto val="1"/>
        <c:lblAlgn val="ctr"/>
        <c:lblOffset val="100"/>
      </c:catAx>
      <c:valAx>
        <c:axId val="93459968"/>
        <c:scaling>
          <c:orientation val="minMax"/>
        </c:scaling>
        <c:delete val="1"/>
        <c:axPos val="l"/>
        <c:numFmt formatCode="0.0" sourceLinked="1"/>
        <c:tickLblPos val="none"/>
        <c:crossAx val="93458432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3.3046837817408102E-2"/>
          <c:y val="0.79795888031559115"/>
          <c:w val="0.9482614903528388"/>
          <c:h val="0.2020410488914057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5892659600025451E-2"/>
          <c:y val="7.3897481898447193E-2"/>
          <c:w val="0.95752561206403453"/>
          <c:h val="0.64149970990878724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rgbClr val="F37741"/>
              </a:solidFill>
            </a:ln>
          </c:spPr>
          <c:marker>
            <c:symbol val="circle"/>
            <c:size val="23"/>
            <c:spPr>
              <a:solidFill>
                <a:srgbClr val="F3774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ru-RU" smtClean="0"/>
                      <a:t>1 620,6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ru-RU" smtClean="0"/>
                      <a:t>1 793,7</a:t>
                    </a:r>
                    <a:r>
                      <a:rPr lang="en-US" smtClean="0"/>
                      <a:t>   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en-US"/>
                      <a:t>1 </a:t>
                    </a:r>
                    <a:r>
                      <a:rPr lang="ru-RU" smtClean="0"/>
                      <a:t>819,8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ru-RU" smtClean="0"/>
                      <a:t>1 768,4</a:t>
                    </a:r>
                    <a:r>
                      <a:rPr lang="en-US" smtClean="0"/>
                      <a:t>   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ru-RU" smtClean="0"/>
                      <a:t>1 660,6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/>
                      <a:t> </a:t>
                    </a:r>
                    <a:r>
                      <a:rPr lang="ru-RU" smtClean="0"/>
                      <a:t>1 284,3</a:t>
                    </a:r>
                    <a:endParaRPr lang="en-US" dirty="0"/>
                  </a:p>
                </c:rich>
              </c:tx>
              <c:dLblPos val="t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8
(отчет)</c:v>
                </c:pt>
                <c:pt idx="1">
                  <c:v>2019 
(отчет)</c:v>
                </c:pt>
                <c:pt idx="2">
                  <c:v>2020 
(оценка)</c:v>
                </c:pt>
                <c:pt idx="3">
                  <c:v>2021 
(проект)</c:v>
                </c:pt>
                <c:pt idx="4">
                  <c:v>2022 
(проект)</c:v>
                </c:pt>
                <c:pt idx="5">
                  <c:v>2023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1620.6</c:v>
                </c:pt>
                <c:pt idx="1">
                  <c:v>1793.7</c:v>
                </c:pt>
                <c:pt idx="2">
                  <c:v>1819.8</c:v>
                </c:pt>
                <c:pt idx="3">
                  <c:v>1768.4</c:v>
                </c:pt>
                <c:pt idx="4">
                  <c:v>1660.6</c:v>
                </c:pt>
                <c:pt idx="5">
                  <c:v>1284.3</c:v>
                </c:pt>
              </c:numCache>
            </c:numRef>
          </c:val>
        </c:ser>
        <c:marker val="1"/>
        <c:axId val="93610752"/>
        <c:axId val="93612288"/>
      </c:lineChart>
      <c:catAx>
        <c:axId val="9361075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93612288"/>
        <c:crosses val="autoZero"/>
        <c:auto val="1"/>
        <c:lblAlgn val="ctr"/>
        <c:lblOffset val="100"/>
      </c:catAx>
      <c:valAx>
        <c:axId val="93612288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936107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01E-2"/>
          <c:w val="0.53125289941066556"/>
          <c:h val="0.86596251665585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2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9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67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7.0000000000000114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52E-2</c:v>
                </c:pt>
                <c:pt idx="9">
                  <c:v>5.7000000000000023E-2</c:v>
                </c:pt>
                <c:pt idx="10">
                  <c:v>6.2000000000000034E-2</c:v>
                </c:pt>
                <c:pt idx="11">
                  <c:v>0.22500000000000001</c:v>
                </c:pt>
                <c:pt idx="12">
                  <c:v>0.559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48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08E-2"/>
          <c:w val="0.53125289941066556"/>
          <c:h val="0.8659625166558521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2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9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68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7.0000000000000114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52E-2</c:v>
                </c:pt>
                <c:pt idx="9">
                  <c:v>5.7000000000000023E-2</c:v>
                </c:pt>
                <c:pt idx="10">
                  <c:v>6.2000000000000034E-2</c:v>
                </c:pt>
                <c:pt idx="11">
                  <c:v>0.22500000000000001</c:v>
                </c:pt>
                <c:pt idx="12">
                  <c:v>0.559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71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7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428E-2"/>
          <c:w val="0.90537698500051977"/>
          <c:h val="0.904057108906061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2.1829399650480592E-2"/>
                  <c:y val="9.91751311049163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8734081623245874E-2"/>
                  <c:y val="-0.20522491031183884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,</a:t>
                    </a:r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481571066101938"/>
                  <c:y val="-0.15888924884137756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/>
                      <a:t>9,4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.3</c:v>
                </c:pt>
                <c:pt idx="1">
                  <c:v>3.7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rgbClr val="EEA9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rgbClr val="F3774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0</c:v>
                </c:pt>
                <c:pt idx="1">
                  <c:v>01.01.2021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130</c:v>
                </c:pt>
                <c:pt idx="1">
                  <c:v>12392</c:v>
                </c:pt>
              </c:numCache>
            </c:numRef>
          </c:val>
        </c:ser>
        <c:gapWidth val="10"/>
        <c:overlap val="18"/>
        <c:axId val="102791424"/>
        <c:axId val="102797312"/>
      </c:barChart>
      <c:catAx>
        <c:axId val="102791424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02797312"/>
        <c:crosses val="autoZero"/>
        <c:auto val="1"/>
        <c:lblAlgn val="ctr"/>
        <c:lblOffset val="100"/>
      </c:catAx>
      <c:valAx>
        <c:axId val="102797312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0279142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896"/>
          <c:y val="3.437500000000001E-2"/>
          <c:w val="0.64375000000001781"/>
          <c:h val="0.96562500000001983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2.6399278215223723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60.8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 г (оценка)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6,1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76.09999999999999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2.7777777777777718E-3"/>
                  <c:y val="1.8177784457278627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36.20000000000000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2 г</c:v>
                </c:pt>
              </c:strCache>
            </c:strRef>
          </c:tx>
          <c:dLbls>
            <c:dLbl>
              <c:idx val="0"/>
              <c:layout>
                <c:manualLayout>
                  <c:x val="2.7777777777778677E-3"/>
                  <c:y val="-3.181112280023761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3 г</c:v>
                </c:pt>
              </c:strCache>
            </c:strRef>
          </c:tx>
          <c:spPr>
            <a:solidFill>
              <a:srgbClr val="3399FF"/>
            </a:solidFill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hape val="cylinder"/>
        <c:axId val="103876864"/>
        <c:axId val="103895040"/>
        <c:axId val="0"/>
      </c:bar3DChart>
      <c:catAx>
        <c:axId val="103876864"/>
        <c:scaling>
          <c:orientation val="minMax"/>
        </c:scaling>
        <c:delete val="1"/>
        <c:axPos val="l"/>
        <c:tickLblPos val="none"/>
        <c:crossAx val="103895040"/>
        <c:crosses val="autoZero"/>
        <c:auto val="1"/>
        <c:lblAlgn val="ctr"/>
        <c:lblOffset val="100"/>
      </c:catAx>
      <c:valAx>
        <c:axId val="103895040"/>
        <c:scaling>
          <c:orientation val="minMax"/>
        </c:scaling>
        <c:delete val="1"/>
        <c:axPos val="b"/>
        <c:numFmt formatCode="0%" sourceLinked="1"/>
        <c:tickLblPos val="none"/>
        <c:crossAx val="10387686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ayout>
        <c:manualLayout>
          <c:xMode val="edge"/>
          <c:yMode val="edge"/>
          <c:x val="2.3760880092753373E-2"/>
          <c:y val="0.62003037045163423"/>
          <c:w val="0.93419121568515118"/>
          <c:h val="0.15633343883013845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gi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2843</cdr:x>
      <cdr:y>0.67705</cdr:y>
    </cdr:from>
    <cdr:to>
      <cdr:x>0.41338</cdr:x>
      <cdr:y>0.95836</cdr:y>
    </cdr:to>
    <cdr:pic>
      <cdr:nvPicPr>
        <cdr:cNvPr id="3" name="Picture 8" descr="http://animashki.info/uploads/posts/2017-03/1489594533_2537-zolotye-monety.gif"/>
        <cdr:cNvPicPr>
          <a:picLocks xmlns:a="http://schemas.openxmlformats.org/drawingml/2006/main" noChangeAspect="1" noChangeArrowheads="1" noCrop="1"/>
        </cdr:cNvPicPr>
      </cdr:nvPicPr>
      <cdr:blipFill>
        <a:blip xmlns:a="http://schemas.openxmlformats.org/drawingml/2006/main" xmlns:r="http://schemas.openxmlformats.org/officeDocument/2006/relationships" r:embed="rId1"/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259991" y="4320480"/>
          <a:ext cx="3519921" cy="179515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6411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4"/>
            <a:ext cx="2945659" cy="496411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r">
              <a:defRPr sz="1200"/>
            </a:lvl1pPr>
          </a:lstStyle>
          <a:p>
            <a:fld id="{0A2A0A7E-778A-499B-A027-457984D7CA53}" type="datetimeFigureOut">
              <a:rPr lang="ru-RU" smtClean="0"/>
              <a:pPr/>
              <a:t>03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4" tIns="45702" rIns="91404" bIns="4570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11"/>
            <a:ext cx="5438140" cy="4467701"/>
          </a:xfrm>
          <a:prstGeom prst="rect">
            <a:avLst/>
          </a:prstGeom>
        </p:spPr>
        <p:txBody>
          <a:bodyPr vert="horz" lIns="91404" tIns="45702" rIns="91404" bIns="4570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4"/>
            <a:ext cx="2945659" cy="496411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30094"/>
            <a:ext cx="2945659" cy="496411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r">
              <a:defRPr sz="1200"/>
            </a:lvl1pPr>
          </a:lstStyle>
          <a:p>
            <a:fld id="{017A21CA-4932-4C93-B415-9B922AAFE24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39420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DB094E-72A8-4504-B9EF-7AD313B8DB6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97368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4663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1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3" name="Скругленный прямоугольник 12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2931" y="1449303"/>
            <a:ext cx="9021537" cy="1527349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62931" y="1396720"/>
            <a:ext cx="9021537" cy="12058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>
          <a:xfrm>
            <a:off x="62931" y="2976649"/>
            <a:ext cx="9021537" cy="110532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16913" y="6492875"/>
            <a:ext cx="827087" cy="365125"/>
          </a:xfrm>
        </p:spPr>
        <p:txBody>
          <a:bodyPr/>
          <a:lstStyle>
            <a:lvl1pPr>
              <a:defRPr lang="ru-RU" altLang="ru-RU" sz="1600" b="1" kern="1200" spc="7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pPr>
              <a:defRPr/>
            </a:pPr>
            <a:fld id="{2279993A-8B84-465B-AF8F-4061BC871014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205691" y="194904"/>
            <a:ext cx="8732618" cy="6468193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312547" y="294556"/>
            <a:ext cx="8451814" cy="576066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442592" y="6349999"/>
            <a:ext cx="526372" cy="365125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8993" y="308273"/>
            <a:ext cx="7607757" cy="543299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1102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03/12/2020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 userDrawn="1"/>
        </p:nvSpPr>
        <p:spPr>
          <a:xfrm>
            <a:off x="467544" y="332656"/>
            <a:ext cx="8424936" cy="6264696"/>
          </a:xfrm>
          <a:prstGeom prst="roundRect">
            <a:avLst/>
          </a:prstGeom>
          <a:noFill/>
          <a:ln w="952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395536" y="3281617"/>
            <a:ext cx="3726036" cy="2955695"/>
            <a:chOff x="1566679" y="2060848"/>
            <a:chExt cx="3726036" cy="2955695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66679" y="3573016"/>
              <a:ext cx="1853192" cy="1443527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566679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3438887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5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3438887" y="3573016"/>
              <a:ext cx="1853193" cy="144120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cxnSp>
        <p:nvCxnSpPr>
          <p:cNvPr id="14" name="Прямая соединительная линия 13"/>
          <p:cNvCxnSpPr/>
          <p:nvPr userDrawn="1"/>
        </p:nvCxnSpPr>
        <p:spPr>
          <a:xfrm>
            <a:off x="4499992" y="4725144"/>
            <a:ext cx="3888432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 userDrawn="1"/>
        </p:nvSpPr>
        <p:spPr>
          <a:xfrm>
            <a:off x="539552" y="1700808"/>
            <a:ext cx="8280920" cy="2016224"/>
          </a:xfrm>
          <a:prstGeom prst="roundRect">
            <a:avLst/>
          </a:prstGeom>
          <a:solidFill>
            <a:schemeClr val="accent5">
              <a:lumMod val="9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C78F-DA6C-406F-8F77-AA2CCA26173B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 userDrawn="1"/>
        </p:nvSpPr>
        <p:spPr>
          <a:xfrm>
            <a:off x="467544" y="332656"/>
            <a:ext cx="8424936" cy="6264696"/>
          </a:xfrm>
          <a:prstGeom prst="roundRect">
            <a:avLst/>
          </a:prstGeom>
          <a:noFill/>
          <a:ln w="952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8"/>
          <p:cNvGrpSpPr/>
          <p:nvPr userDrawn="1"/>
        </p:nvGrpSpPr>
        <p:grpSpPr>
          <a:xfrm>
            <a:off x="395536" y="3281617"/>
            <a:ext cx="3726036" cy="2955695"/>
            <a:chOff x="1566679" y="2060848"/>
            <a:chExt cx="3726036" cy="2955695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66679" y="3573016"/>
              <a:ext cx="1853192" cy="1443527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566679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3438887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5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3438887" y="3573016"/>
              <a:ext cx="1853193" cy="144120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cxnSp>
        <p:nvCxnSpPr>
          <p:cNvPr id="14" name="Прямая соединительная линия 13"/>
          <p:cNvCxnSpPr/>
          <p:nvPr userDrawn="1"/>
        </p:nvCxnSpPr>
        <p:spPr>
          <a:xfrm>
            <a:off x="4499992" y="4725144"/>
            <a:ext cx="3888432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 userDrawn="1"/>
        </p:nvSpPr>
        <p:spPr>
          <a:xfrm>
            <a:off x="611560" y="548680"/>
            <a:ext cx="8280920" cy="2664296"/>
          </a:xfrm>
          <a:prstGeom prst="roundRect">
            <a:avLst/>
          </a:prstGeom>
          <a:solidFill>
            <a:schemeClr val="accent5">
              <a:lumMod val="9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012160" y="0"/>
            <a:ext cx="313184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77913" lvl="0"/>
            <a:endParaRPr lang="ru-RU" b="1" dirty="0" smtClean="0"/>
          </a:p>
        </p:txBody>
      </p:sp>
      <p:grpSp>
        <p:nvGrpSpPr>
          <p:cNvPr id="8" name="Группа 5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Группа 8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6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228074" y="6453336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193795" y="6453336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0" y="-144016"/>
            <a:ext cx="9144000" cy="7047734"/>
            <a:chOff x="0" y="-144016"/>
            <a:chExt cx="9144000" cy="704773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-144016"/>
              <a:ext cx="179512" cy="112474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9512" y="-144016"/>
              <a:ext cx="216024" cy="11247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95536" y="-144016"/>
              <a:ext cx="8748464" cy="112474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79512" y="6597352"/>
              <a:ext cx="8568952" cy="26064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0" y="6597352"/>
              <a:ext cx="216024" cy="26064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 flipV="1">
              <a:off x="8748464" y="6597352"/>
              <a:ext cx="395536" cy="30636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C78F-DA6C-406F-8F77-AA2CCA26173B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12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16416" y="6492875"/>
            <a:ext cx="827584" cy="365125"/>
          </a:xfrm>
        </p:spPr>
        <p:txBody>
          <a:bodyPr/>
          <a:lstStyle>
            <a:lvl1pPr>
              <a:defRPr lang="ru-RU" altLang="ru-RU" sz="1600" b="1" kern="1200" spc="70" smtClean="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651500" y="-84138"/>
            <a:ext cx="3492500" cy="20002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34425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16913" y="6492875"/>
            <a:ext cx="827087" cy="365125"/>
          </a:xfrm>
        </p:spPr>
        <p:txBody>
          <a:bodyPr/>
          <a:lstStyle>
            <a:lvl1pPr>
              <a:defRPr lang="ru-RU" altLang="ru-RU" sz="1600" b="1" kern="1200" spc="7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pPr>
              <a:defRPr/>
            </a:pPr>
            <a:fld id="{29D281D6-157D-4F94-B9E8-082EC9A6A235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10"/>
          <p:cNvSpPr/>
          <p:nvPr userDrawn="1"/>
        </p:nvSpPr>
        <p:spPr>
          <a:xfrm>
            <a:off x="8748713" y="6464300"/>
            <a:ext cx="360362" cy="3587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22618" y="6468914"/>
            <a:ext cx="398463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3D24370-4520-4910-9E97-D51ADCD4D4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с двумя скругленными соседними углами 4"/>
          <p:cNvSpPr/>
          <p:nvPr userDrawn="1"/>
        </p:nvSpPr>
        <p:spPr>
          <a:xfrm flipV="1">
            <a:off x="3759200" y="20638"/>
            <a:ext cx="5364163" cy="2603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Заголовок 6"/>
          <p:cNvSpPr>
            <a:spLocks noGrp="1"/>
          </p:cNvSpPr>
          <p:nvPr>
            <p:ph type="title"/>
          </p:nvPr>
        </p:nvSpPr>
        <p:spPr>
          <a:xfrm>
            <a:off x="3790303" y="10391"/>
            <a:ext cx="5364088" cy="274042"/>
          </a:xfrm>
        </p:spPr>
        <p:txBody>
          <a:bodyPr>
            <a:noAutofit/>
          </a:bodyPr>
          <a:lstStyle>
            <a:lvl1pPr algn="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83970" name="Picture 2" descr="D:\Users\krdoas\Pictures\пятно 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2656"/>
            <a:ext cx="9144000" cy="652534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10"/>
          <p:cNvSpPr/>
          <p:nvPr userDrawn="1"/>
        </p:nvSpPr>
        <p:spPr>
          <a:xfrm>
            <a:off x="8748713" y="6464300"/>
            <a:ext cx="360362" cy="3587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22618" y="6468914"/>
            <a:ext cx="398463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3D24370-4520-4910-9E97-D51ADCD4D4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с двумя скругленными соседними углами 4"/>
          <p:cNvSpPr/>
          <p:nvPr userDrawn="1"/>
        </p:nvSpPr>
        <p:spPr>
          <a:xfrm flipV="1">
            <a:off x="3759200" y="20638"/>
            <a:ext cx="5364163" cy="2603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Заголовок 6"/>
          <p:cNvSpPr>
            <a:spLocks noGrp="1"/>
          </p:cNvSpPr>
          <p:nvPr>
            <p:ph type="title"/>
          </p:nvPr>
        </p:nvSpPr>
        <p:spPr>
          <a:xfrm>
            <a:off x="3790303" y="10391"/>
            <a:ext cx="5364088" cy="274042"/>
          </a:xfrm>
        </p:spPr>
        <p:txBody>
          <a:bodyPr>
            <a:noAutofit/>
          </a:bodyPr>
          <a:lstStyle>
            <a:lvl1pPr algn="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83970" name="Picture 2" descr="D:\Users\krdoas\Pictures\пятно 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2656"/>
            <a:ext cx="9144000" cy="652534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0" name="Скругленный прямоугольник 9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 anchor="b" anchorCtr="0"/>
          <a:lstStyle>
            <a:lvl1pPr algn="l">
              <a:buNone/>
              <a:defRPr sz="4000" b="0" cap="none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 flipV="1">
            <a:off x="69412" y="2376830"/>
            <a:ext cx="9013515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69146" y="2341475"/>
            <a:ext cx="9013781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>
          <a:xfrm>
            <a:off x="68306" y="2468880"/>
            <a:ext cx="9014621" cy="45720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143725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16416" y="6492875"/>
            <a:ext cx="827584" cy="365125"/>
          </a:xfrm>
        </p:spPr>
        <p:txBody>
          <a:bodyPr/>
          <a:lstStyle>
            <a:lvl1pPr>
              <a:defRPr lang="ru-RU" altLang="ru-RU" sz="1600" b="1" kern="1200" spc="70" smtClean="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Содержимое 10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9" name="Скругленный прямоугольник 8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 algn="l">
              <a:buNone/>
              <a:defRPr sz="40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 vert="horz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68307" y="4683555"/>
            <a:ext cx="9006840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68508" y="4650474"/>
            <a:ext cx="9006639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Прямоугольник 12"/>
          <p:cNvSpPr/>
          <p:nvPr/>
        </p:nvSpPr>
        <p:spPr>
          <a:xfrm>
            <a:off x="68510" y="4773224"/>
            <a:ext cx="9006637" cy="4880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8" name="Скругленный прямоугольник 7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1AA2E0D8-28BA-451D-899D-8DB94CCE43ED}" type="datetime1">
              <a:rPr lang="ru-RU" smtClean="0"/>
              <a:pPr/>
              <a:t>03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46304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lvl1pPr algn="ctr" eaLnBrk="1" latinLnBrk="0" hangingPunct="1">
              <a:defRPr kumimoji="0" sz="1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652" r:id="rId15"/>
    <p:sldLayoutId id="2147483649" r:id="rId16"/>
    <p:sldLayoutId id="2147483692" r:id="rId17"/>
    <p:sldLayoutId id="2147483669" r:id="rId18"/>
    <p:sldLayoutId id="2147483650" r:id="rId19"/>
    <p:sldLayoutId id="2147483651" r:id="rId20"/>
    <p:sldLayoutId id="2147483690" r:id="rId21"/>
    <p:sldLayoutId id="2147483675" r:id="rId22"/>
    <p:sldLayoutId id="2147483676" r:id="rId23"/>
    <p:sldLayoutId id="2147483677" r:id="rId24"/>
    <p:sldLayoutId id="2147483678" r:id="rId25"/>
    <p:sldLayoutId id="2147483680" r:id="rId26"/>
    <p:sldLayoutId id="2147483682" r:id="rId27"/>
    <p:sldLayoutId id="2147483684" r:id="rId28"/>
    <p:sldLayoutId id="2147483685" r:id="rId29"/>
    <p:sldLayoutId id="2147483686" r:id="rId30"/>
    <p:sldLayoutId id="2147483689" r:id="rId31"/>
    <p:sldLayoutId id="2147483693" r:id="rId32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580"/>
        </a:spcBef>
        <a:buClr>
          <a:schemeClr val="accent1"/>
        </a:buClr>
        <a:buSzPct val="8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rtl="0" eaLnBrk="1" latinLnBrk="0" hangingPunct="1">
        <a:spcBef>
          <a:spcPts val="370"/>
        </a:spcBef>
        <a:buClr>
          <a:schemeClr val="accent2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370"/>
        </a:spcBef>
        <a:buClr>
          <a:schemeClr val="accent3"/>
        </a:buClr>
        <a:buSzPct val="8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70"/>
        </a:spcBef>
        <a:buClr>
          <a:schemeClr val="accent3"/>
        </a:buClr>
        <a:buFontTx/>
        <a:buChar char="o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chart" Target="../charts/char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1.xml"/><Relationship Id="rId9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image" Target="../media/image13.jpe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slideLayout" Target="../slideLayouts/slideLayout13.xml"/><Relationship Id="rId50" Type="http://schemas.openxmlformats.org/officeDocument/2006/relationships/image" Target="../media/image16.gif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41" Type="http://schemas.openxmlformats.org/officeDocument/2006/relationships/tags" Target="../tags/tag69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image" Target="../media/image15.pn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image" Target="../media/image14.png"/><Relationship Id="rId8" Type="http://schemas.openxmlformats.org/officeDocument/2006/relationships/tags" Target="../tags/tag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3" Type="http://schemas.openxmlformats.org/officeDocument/2006/relationships/tags" Target="../tags/tag77.xml"/><Relationship Id="rId21" Type="http://schemas.openxmlformats.org/officeDocument/2006/relationships/slideLayout" Target="../slideLayouts/slideLayout13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23.png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3" Type="http://schemas.openxmlformats.org/officeDocument/2006/relationships/image" Target="../media/image25.gif"/><Relationship Id="rId7" Type="http://schemas.openxmlformats.org/officeDocument/2006/relationships/image" Target="../media/image29.gif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gif"/><Relationship Id="rId5" Type="http://schemas.openxmlformats.org/officeDocument/2006/relationships/image" Target="../media/image27.gif"/><Relationship Id="rId4" Type="http://schemas.openxmlformats.org/officeDocument/2006/relationships/image" Target="../media/image26.gif"/><Relationship Id="rId9" Type="http://schemas.openxmlformats.org/officeDocument/2006/relationships/image" Target="../media/image31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.gi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9" name="Прямая соединительная линия 58"/>
          <p:cNvCxnSpPr/>
          <p:nvPr/>
        </p:nvCxnSpPr>
        <p:spPr>
          <a:xfrm flipH="1">
            <a:off x="7164288" y="3068141"/>
            <a:ext cx="1856580" cy="1"/>
          </a:xfrm>
          <a:prstGeom prst="line">
            <a:avLst/>
          </a:prstGeom>
          <a:ln>
            <a:gradFill flip="none" rotWithShape="1">
              <a:gsLst>
                <a:gs pos="1000">
                  <a:schemeClr val="accent6">
                    <a:lumMod val="20000"/>
                    <a:lumOff val="80000"/>
                    <a:alpha val="0"/>
                  </a:schemeClr>
                </a:gs>
                <a:gs pos="52000">
                  <a:schemeClr val="accent6">
                    <a:lumMod val="75000"/>
                    <a:alpha val="7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3573016"/>
            <a:ext cx="2664296" cy="29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5"/>
          <p:cNvSpPr>
            <a:spLocks noChangeArrowheads="1"/>
          </p:cNvSpPr>
          <p:nvPr/>
        </p:nvSpPr>
        <p:spPr bwMode="auto">
          <a:xfrm>
            <a:off x="1835696" y="714375"/>
            <a:ext cx="6863805" cy="1015663"/>
          </a:xfrm>
          <a:prstGeom prst="rect">
            <a:avLst/>
          </a:prstGeom>
          <a:solidFill>
            <a:srgbClr val="EAEAEA">
              <a:alpha val="50196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ru-RU" sz="20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ФИНАНСОВОЕ УПРАВЛЕНИЕ АДМИНИСТРАЦИИ </a:t>
            </a:r>
            <a:br>
              <a:rPr lang="ru-RU" sz="20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ГОРОДА-КУРОРТА ЖЕЛЕЗНОВОДСКА СТАВРОПОЛЬСКОГО КРАЯ</a:t>
            </a:r>
            <a:endParaRPr lang="ru-RU" sz="2000" b="1" dirty="0">
              <a:solidFill>
                <a:srgbClr val="190F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3491880" y="2708920"/>
            <a:ext cx="5328592" cy="3046988"/>
          </a:xfrm>
          <a:prstGeom prst="rect">
            <a:avLst/>
          </a:prstGeom>
          <a:solidFill>
            <a:srgbClr val="EAEAEA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/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Проект бюджета города</a:t>
            </a:r>
            <a:r>
              <a:rPr lang="en-US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-</a:t>
            </a:r>
            <a:r>
              <a:rPr lang="en-US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курорта Железноводска</a:t>
            </a:r>
          </a:p>
          <a:p>
            <a:pPr algn="ctr" eaLnBrk="1" hangingPunct="1"/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Ставропольского края </a:t>
            </a:r>
          </a:p>
          <a:p>
            <a:pPr algn="ctr" eaLnBrk="1" hangingPunct="1"/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на </a:t>
            </a:r>
            <a:r>
              <a:rPr lang="ru-RU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202</a:t>
            </a:r>
            <a:r>
              <a:rPr lang="en-US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1</a:t>
            </a:r>
            <a:r>
              <a:rPr lang="ru-RU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год и на плановый период </a:t>
            </a:r>
            <a:endParaRPr lang="ru-RU" sz="3200" b="1" dirty="0" smtClean="0">
              <a:solidFill>
                <a:srgbClr val="190F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  <a:p>
            <a:pPr algn="ctr" eaLnBrk="1" hangingPunct="1"/>
            <a:r>
              <a:rPr lang="ru-RU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202</a:t>
            </a:r>
            <a:r>
              <a:rPr lang="en-US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2</a:t>
            </a:r>
            <a:r>
              <a:rPr lang="ru-RU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и 20</a:t>
            </a:r>
            <a:r>
              <a:rPr lang="en-US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23</a:t>
            </a:r>
            <a:r>
              <a:rPr lang="ru-RU" sz="3200" b="1" dirty="0" smtClean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 </a:t>
            </a:r>
            <a:r>
              <a:rPr lang="ru-RU" sz="3200" b="1" dirty="0">
                <a:solidFill>
                  <a:srgbClr val="190F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годов </a:t>
            </a:r>
          </a:p>
        </p:txBody>
      </p:sp>
      <p:pic>
        <p:nvPicPr>
          <p:cNvPr id="27" name="Picture 7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332656"/>
            <a:ext cx="1443617" cy="1846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Скругленный прямоугольник 28"/>
          <p:cNvSpPr/>
          <p:nvPr/>
        </p:nvSpPr>
        <p:spPr>
          <a:xfrm>
            <a:off x="323528" y="3573016"/>
            <a:ext cx="2664296" cy="2952328"/>
          </a:xfrm>
          <a:prstGeom prst="roundRect">
            <a:avLst>
              <a:gd name="adj" fmla="val 9399"/>
            </a:avLst>
          </a:prstGeom>
          <a:noFill/>
          <a:ln w="539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431411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xmlns="" val="3383263371"/>
              </p:ext>
            </p:extLst>
          </p:nvPr>
        </p:nvGraphicFramePr>
        <p:xfrm>
          <a:off x="-357222" y="2000240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7" name="Объект 36" hidden="1"/>
          <p:cNvGraphicFramePr>
            <a:graphicFrameLocks noChangeAspect="1"/>
          </p:cNvGraphicFramePr>
          <p:nvPr/>
        </p:nvGraphicFramePr>
        <p:xfrm>
          <a:off x="1143006" y="0"/>
          <a:ext cx="119063" cy="158750"/>
        </p:xfrm>
        <a:graphic>
          <a:graphicData uri="http://schemas.openxmlformats.org/presentationml/2006/ole">
            <p:oleObj spid="_x0000_s96258" name="think-cell Slide" r:id="rId8" imgW="360" imgH="360" progId="">
              <p:embed/>
            </p:oleObj>
          </a:graphicData>
        </a:graphic>
      </p:graphicFrame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3428992" y="1785926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0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3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037,4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848,5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2" name="Группа 23"/>
          <p:cNvGrpSpPr/>
          <p:nvPr/>
        </p:nvGrpSpPr>
        <p:grpSpPr>
          <a:xfrm>
            <a:off x="2000232" y="1500174"/>
            <a:ext cx="6464727" cy="1857388"/>
            <a:chOff x="2571769" y="1245520"/>
            <a:chExt cx="6464727" cy="1607415"/>
          </a:xfrm>
        </p:grpSpPr>
        <p:sp>
          <p:nvSpPr>
            <p:cNvPr id="52" name="Скругленный прямоугольник 51"/>
            <p:cNvSpPr/>
            <p:nvPr>
              <p:custDataLst>
                <p:tags r:id="rId4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rot="10800000" flipV="1">
              <a:off x="2571769" y="1678286"/>
              <a:ext cx="1428760" cy="803708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19"/>
          <p:cNvGrpSpPr/>
          <p:nvPr/>
        </p:nvGrpSpPr>
        <p:grpSpPr>
          <a:xfrm>
            <a:off x="2786050" y="4253266"/>
            <a:ext cx="5830369" cy="1476000"/>
            <a:chOff x="3491880" y="2961112"/>
            <a:chExt cx="5544616" cy="1476000"/>
          </a:xfrm>
        </p:grpSpPr>
        <p:grpSp>
          <p:nvGrpSpPr>
            <p:cNvPr id="4" name="Группа 6"/>
            <p:cNvGrpSpPr/>
            <p:nvPr/>
          </p:nvGrpSpPr>
          <p:grpSpPr>
            <a:xfrm>
              <a:off x="4355977" y="2961112"/>
              <a:ext cx="4680519" cy="1476000"/>
              <a:chOff x="5807967" y="2961112"/>
              <a:chExt cx="6240693" cy="1476000"/>
            </a:xfrm>
          </p:grpSpPr>
          <p:sp>
            <p:nvSpPr>
              <p:cNvPr id="21" name="Прямоугольник 20"/>
              <p:cNvSpPr/>
              <p:nvPr>
                <p:custDataLst>
                  <p:tags r:id="rId2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77" name="Скругленный прямоугольник 76"/>
              <p:cNvSpPr/>
              <p:nvPr>
                <p:custDataLst>
                  <p:tags r:id="rId3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40" name="Диаграмма 39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</p:grpSp>
        <p:cxnSp>
          <p:nvCxnSpPr>
            <p:cNvPr id="60" name="Прямая соединительная линия 59"/>
            <p:cNvCxnSpPr/>
            <p:nvPr/>
          </p:nvCxnSpPr>
          <p:spPr>
            <a:xfrm rot="10800000">
              <a:off x="3491880" y="3494168"/>
              <a:ext cx="815241" cy="285752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Прямоугольник 46"/>
          <p:cNvSpPr/>
          <p:nvPr/>
        </p:nvSpPr>
        <p:spPr>
          <a:xfrm>
            <a:off x="323528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Повышение оплаты труда работников  муниципальных учреждений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3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9</a:t>
            </a:r>
          </a:p>
        </p:txBody>
      </p:sp>
    </p:spTree>
    <p:extLst>
      <p:ext uri="{BB962C8B-B14F-4D97-AF65-F5344CB8AC3E}">
        <p14:creationId xmlns:p14="http://schemas.microsoft.com/office/powerpoint/2010/main" xmlns="" val="299632270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Диаграмма 93"/>
          <p:cNvGraphicFramePr/>
          <p:nvPr>
            <p:extLst>
              <p:ext uri="{D42A27DB-BD31-4B8C-83A1-F6EECF244321}">
                <p14:modId xmlns:p14="http://schemas.microsoft.com/office/powerpoint/2010/main" xmlns="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3" name="Овал 132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48,7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97" name="Скругленный прямоугольник 96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99" name="Скругленный прямоугольник 98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67,5</a:t>
              </a:r>
              <a:endParaRPr lang="ru-RU" dirty="0"/>
            </a:p>
          </p:txBody>
        </p:sp>
      </p:grpSp>
      <p:grpSp>
        <p:nvGrpSpPr>
          <p:cNvPr id="3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1%</a:t>
              </a:r>
            </a:p>
          </p:txBody>
        </p:sp>
        <p:grpSp>
          <p:nvGrpSpPr>
            <p:cNvPr id="4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5" name="Группа 13"/>
          <p:cNvGrpSpPr/>
          <p:nvPr/>
        </p:nvGrpSpPr>
        <p:grpSpPr>
          <a:xfrm>
            <a:off x="357158" y="4714884"/>
            <a:ext cx="2081846" cy="1540800"/>
            <a:chOff x="171004" y="4754736"/>
            <a:chExt cx="2268000" cy="1540800"/>
          </a:xfrm>
        </p:grpSpPr>
        <p:sp>
          <p:nvSpPr>
            <p:cNvPr id="102" name="Скругленный прямоугольник 101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104" name="Скругленный прямоугольник 103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5,3</a:t>
              </a:r>
              <a:endParaRPr lang="ru-RU" dirty="0"/>
            </a:p>
          </p:txBody>
        </p:sp>
      </p:grpSp>
      <p:cxnSp>
        <p:nvCxnSpPr>
          <p:cNvPr id="106" name="Прямая соединительная линия 105"/>
          <p:cNvCxnSpPr/>
          <p:nvPr/>
        </p:nvCxnSpPr>
        <p:spPr>
          <a:xfrm>
            <a:off x="2428860" y="5715016"/>
            <a:ext cx="1143008" cy="1588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7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9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8" name="Группа 45"/>
          <p:cNvGrpSpPr/>
          <p:nvPr/>
        </p:nvGrpSpPr>
        <p:grpSpPr>
          <a:xfrm>
            <a:off x="6372200" y="1412776"/>
            <a:ext cx="2509799" cy="2318092"/>
            <a:chOff x="132904" y="4754736"/>
            <a:chExt cx="2081088" cy="1512168"/>
          </a:xfrm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Прямоугольник 114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116" name="Скругленный прямоугольник 11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2,5</a:t>
              </a:r>
              <a:endParaRPr lang="ru-RU" dirty="0"/>
            </a:p>
          </p:txBody>
        </p:sp>
      </p:grpSp>
      <p:cxnSp>
        <p:nvCxnSpPr>
          <p:cNvPr id="118" name="Прямая соединительная линия 117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48" name="Прямоугольник 47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8%</a:t>
              </a:r>
            </a:p>
          </p:txBody>
        </p:sp>
        <p:grpSp>
          <p:nvGrpSpPr>
            <p:cNvPr id="14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29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5" name="Группа 39"/>
          <p:cNvGrpSpPr/>
          <p:nvPr/>
        </p:nvGrpSpPr>
        <p:grpSpPr>
          <a:xfrm>
            <a:off x="6572264" y="4857760"/>
            <a:ext cx="2081089" cy="1309824"/>
            <a:chOff x="132904" y="4754736"/>
            <a:chExt cx="2081088" cy="1512168"/>
          </a:xfrm>
        </p:grpSpPr>
        <p:sp>
          <p:nvSpPr>
            <p:cNvPr id="108" name="Скругленный прямоугольник 107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Прямоугольник 108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110" name="Скругленный прямоугольник 10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,4</a:t>
              </a:r>
              <a:endParaRPr lang="ru-RU" dirty="0"/>
            </a:p>
          </p:txBody>
        </p:sp>
      </p:grpSp>
      <p:cxnSp>
        <p:nvCxnSpPr>
          <p:cNvPr id="112" name="Прямая соединительная линия 111"/>
          <p:cNvCxnSpPr/>
          <p:nvPr/>
        </p:nvCxnSpPr>
        <p:spPr>
          <a:xfrm>
            <a:off x="4857752" y="5786454"/>
            <a:ext cx="1785950" cy="15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124" name="Овал 123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7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74" name="Прямоугольник 73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на меры социальной поддержки населения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57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8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0</a:t>
            </a:r>
          </a:p>
        </p:txBody>
      </p:sp>
    </p:spTree>
    <p:extLst>
      <p:ext uri="{BB962C8B-B14F-4D97-AF65-F5344CB8AC3E}">
        <p14:creationId xmlns:p14="http://schemas.microsoft.com/office/powerpoint/2010/main" xmlns="" val="41247630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4" grpId="0">
        <p:bldAsOne/>
      </p:bldGraphic>
      <p:bldP spid="13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1678622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1780833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444801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2,2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1700808"/>
            <a:ext cx="230425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357950" y="1700808"/>
            <a:ext cx="2534530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и Комсомольской поляны</a:t>
            </a:r>
            <a:endParaRPr lang="ru-RU" sz="15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571744"/>
            <a:ext cx="1683378" cy="25738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7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9" y="3501008"/>
            <a:ext cx="2016224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54441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</a:t>
            </a:r>
            <a:endParaRPr lang="ru-RU" sz="15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29309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3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524921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673710" y="430642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,3</a:t>
            </a:r>
            <a:endParaRPr lang="ru-RU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491880" y="3808554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3275856" y="3861048"/>
            <a:ext cx="259228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Мероприятия по благоустройству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</a:t>
            </a:r>
            <a:endParaRPr lang="ru-RU" sz="15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697853" y="458112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283450"/>
            <a:ext cx="189763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152,8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flipH="1">
            <a:off x="4499992" y="3429000"/>
            <a:ext cx="12475" cy="4515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483888" y="2264069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411760" y="3212977"/>
            <a:ext cx="1152128" cy="86409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364088" y="2280644"/>
            <a:ext cx="1152128" cy="6823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 flipV="1">
            <a:off x="5400208" y="3212976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5445224"/>
            <a:ext cx="9144001" cy="1556792"/>
          </a:xfrm>
          <a:prstGeom prst="rect">
            <a:avLst/>
          </a:prstGeom>
          <a:noFill/>
        </p:spPr>
      </p:pic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3" name="Скругленный прямоугольник 32"/>
          <p:cNvSpPr/>
          <p:nvPr>
            <p:custDataLst>
              <p:tags r:id="rId7"/>
            </p:custDataLst>
          </p:nvPr>
        </p:nvSpPr>
        <p:spPr>
          <a:xfrm>
            <a:off x="3491880" y="1124744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>
            <p:custDataLst>
              <p:tags r:id="rId8"/>
            </p:custDataLst>
          </p:nvPr>
        </p:nvSpPr>
        <p:spPr>
          <a:xfrm>
            <a:off x="1691680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>
            <p:custDataLst>
              <p:tags r:id="rId9"/>
            </p:custDataLst>
          </p:nvPr>
        </p:nvSpPr>
        <p:spPr>
          <a:xfrm>
            <a:off x="5436096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>
            <p:custDataLst>
              <p:tags r:id="rId10"/>
            </p:custDataLst>
          </p:nvPr>
        </p:nvSpPr>
        <p:spPr>
          <a:xfrm>
            <a:off x="3707904" y="170080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8,2</a:t>
            </a:r>
            <a:endParaRPr lang="ru-RU" b="1" dirty="0"/>
          </a:p>
        </p:txBody>
      </p:sp>
      <p:sp>
        <p:nvSpPr>
          <p:cNvPr id="37" name="Скругленный прямоугольник 36"/>
          <p:cNvSpPr/>
          <p:nvPr>
            <p:custDataLst>
              <p:tags r:id="rId11"/>
            </p:custDataLst>
          </p:nvPr>
        </p:nvSpPr>
        <p:spPr>
          <a:xfrm>
            <a:off x="1835696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4,4</a:t>
            </a:r>
            <a:endParaRPr lang="ru-RU" b="1" dirty="0"/>
          </a:p>
        </p:txBody>
      </p:sp>
      <p:sp>
        <p:nvSpPr>
          <p:cNvPr id="38" name="Скругленный прямоугольник 37"/>
          <p:cNvSpPr/>
          <p:nvPr>
            <p:custDataLst>
              <p:tags r:id="rId12"/>
            </p:custDataLst>
          </p:nvPr>
        </p:nvSpPr>
        <p:spPr>
          <a:xfrm>
            <a:off x="5508104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39" name="Прямоугольник 38"/>
          <p:cNvSpPr/>
          <p:nvPr>
            <p:custDataLst>
              <p:tags r:id="rId13"/>
            </p:custDataLst>
          </p:nvPr>
        </p:nvSpPr>
        <p:spPr>
          <a:xfrm>
            <a:off x="3347864" y="1124743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40" name="Прямоугольник 39"/>
          <p:cNvSpPr/>
          <p:nvPr>
            <p:custDataLst>
              <p:tags r:id="rId14"/>
            </p:custDataLst>
          </p:nvPr>
        </p:nvSpPr>
        <p:spPr>
          <a:xfrm>
            <a:off x="1619672" y="5157193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Школьного сквера</a:t>
            </a:r>
            <a:endParaRPr lang="ru-RU" sz="1500" b="1" dirty="0"/>
          </a:p>
        </p:txBody>
      </p:sp>
      <p:sp>
        <p:nvSpPr>
          <p:cNvPr id="41" name="Прямоугольник 40"/>
          <p:cNvSpPr/>
          <p:nvPr>
            <p:custDataLst>
              <p:tags r:id="rId15"/>
            </p:custDataLst>
          </p:nvPr>
        </p:nvSpPr>
        <p:spPr>
          <a:xfrm>
            <a:off x="5364088" y="5128592"/>
            <a:ext cx="199399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</a:t>
            </a:r>
            <a:endParaRPr lang="ru-RU" sz="1500" b="1" dirty="0"/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3059832" y="3284984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 flipV="1">
            <a:off x="5220072" y="3356992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Благоустройство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516216" y="3573016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города</a:t>
            </a:r>
            <a:endParaRPr lang="ru-RU" sz="1500" b="1" dirty="0"/>
          </a:p>
        </p:txBody>
      </p:sp>
      <p:sp>
        <p:nvSpPr>
          <p:cNvPr id="47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1</a:t>
            </a:r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395536" y="3645024"/>
            <a:ext cx="2016224" cy="4320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755576" y="1340768"/>
            <a:ext cx="1368152" cy="417313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899592" y="1844824"/>
            <a:ext cx="1080120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4"/>
            </p:custDataLst>
          </p:nvPr>
        </p:nvCxnSpPr>
        <p:spPr>
          <a:xfrm>
            <a:off x="1475656" y="227687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>
            <p:custDataLst>
              <p:tags r:id="rId5"/>
            </p:custDataLst>
          </p:nvPr>
        </p:nvSpPr>
        <p:spPr>
          <a:xfrm>
            <a:off x="971600" y="2492896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15" name="Скругленный прямоугольник 14"/>
          <p:cNvSpPr/>
          <p:nvPr>
            <p:custDataLst>
              <p:tags r:id="rId6"/>
            </p:custDataLst>
          </p:nvPr>
        </p:nvSpPr>
        <p:spPr>
          <a:xfrm>
            <a:off x="395536" y="3717032"/>
            <a:ext cx="792087" cy="360040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1,0</a:t>
            </a:r>
            <a:endParaRPr lang="ru-RU" sz="2000" b="1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Скругленный прямоугольник 18"/>
          <p:cNvSpPr/>
          <p:nvPr>
            <p:custDataLst>
              <p:tags r:id="rId7"/>
            </p:custDataLst>
          </p:nvPr>
        </p:nvSpPr>
        <p:spPr>
          <a:xfrm>
            <a:off x="1547664" y="3717032"/>
            <a:ext cx="936104" cy="328002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Скругленный прямоугольник 20"/>
          <p:cNvSpPr/>
          <p:nvPr>
            <p:custDataLst>
              <p:tags r:id="rId8"/>
            </p:custDataLst>
          </p:nvPr>
        </p:nvSpPr>
        <p:spPr>
          <a:xfrm>
            <a:off x="3563888" y="1340768"/>
            <a:ext cx="1440160" cy="43204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</a:p>
        </p:txBody>
      </p:sp>
      <p:sp>
        <p:nvSpPr>
          <p:cNvPr id="22" name="Скругленный прямоугольник 21"/>
          <p:cNvSpPr/>
          <p:nvPr>
            <p:custDataLst>
              <p:tags r:id="rId9"/>
            </p:custDataLst>
          </p:nvPr>
        </p:nvSpPr>
        <p:spPr>
          <a:xfrm>
            <a:off x="3707904" y="1844824"/>
            <a:ext cx="1122641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>
            <p:custDataLst>
              <p:tags r:id="rId10"/>
            </p:custDataLst>
          </p:nvPr>
        </p:nvCxnSpPr>
        <p:spPr>
          <a:xfrm>
            <a:off x="7092280" y="2276872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11"/>
            </p:custDataLst>
          </p:nvPr>
        </p:nvCxnSpPr>
        <p:spPr>
          <a:xfrm>
            <a:off x="4283968" y="2276872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3528" y="3068960"/>
            <a:ext cx="971600" cy="514439"/>
          </a:xfrm>
          <a:prstGeom prst="rect">
            <a:avLst/>
          </a:prstGeom>
          <a:noFill/>
        </p:spPr>
      </p:pic>
      <p:pic>
        <p:nvPicPr>
          <p:cNvPr id="3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475656" y="3068960"/>
            <a:ext cx="1080120" cy="504056"/>
          </a:xfrm>
          <a:prstGeom prst="rect">
            <a:avLst/>
          </a:prstGeom>
          <a:noFill/>
        </p:spPr>
      </p:pic>
      <p:pic>
        <p:nvPicPr>
          <p:cNvPr id="3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9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084168" y="4725144"/>
            <a:ext cx="1728192" cy="1728192"/>
          </a:xfrm>
          <a:prstGeom prst="rect">
            <a:avLst/>
          </a:prstGeom>
          <a:noFill/>
        </p:spPr>
      </p:pic>
      <p:grpSp>
        <p:nvGrpSpPr>
          <p:cNvPr id="2" name="Группа 46"/>
          <p:cNvGrpSpPr/>
          <p:nvPr>
            <p:custDataLst>
              <p:tags r:id="rId15"/>
            </p:custDataLst>
          </p:nvPr>
        </p:nvGrpSpPr>
        <p:grpSpPr>
          <a:xfrm>
            <a:off x="179512" y="4221088"/>
            <a:ext cx="1728192" cy="360040"/>
            <a:chOff x="537999" y="5954425"/>
            <a:chExt cx="2386176" cy="546720"/>
          </a:xfrm>
        </p:grpSpPr>
        <p:sp>
          <p:nvSpPr>
            <p:cNvPr id="48" name="Овал 47"/>
            <p:cNvSpPr/>
            <p:nvPr>
              <p:custDataLst>
                <p:tags r:id="rId45"/>
              </p:custDataLst>
            </p:nvPr>
          </p:nvSpPr>
          <p:spPr>
            <a:xfrm>
              <a:off x="537999" y="6063769"/>
              <a:ext cx="298272" cy="32803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9" name="TextBox 48"/>
            <p:cNvSpPr txBox="1"/>
            <p:nvPr>
              <p:custDataLst>
                <p:tags r:id="rId46"/>
              </p:custDataLst>
            </p:nvPr>
          </p:nvSpPr>
          <p:spPr>
            <a:xfrm>
              <a:off x="875118" y="5954425"/>
              <a:ext cx="2049057" cy="5467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" name="Группа 52"/>
          <p:cNvGrpSpPr/>
          <p:nvPr>
            <p:custDataLst>
              <p:tags r:id="rId16"/>
            </p:custDataLst>
          </p:nvPr>
        </p:nvGrpSpPr>
        <p:grpSpPr>
          <a:xfrm>
            <a:off x="1763688" y="4221088"/>
            <a:ext cx="1368152" cy="360040"/>
            <a:chOff x="537999" y="5954425"/>
            <a:chExt cx="2386176" cy="586055"/>
          </a:xfrm>
        </p:grpSpPr>
        <p:sp>
          <p:nvSpPr>
            <p:cNvPr id="54" name="Овал 53"/>
            <p:cNvSpPr/>
            <p:nvPr>
              <p:custDataLst>
                <p:tags r:id="rId43"/>
              </p:custDataLst>
            </p:nvPr>
          </p:nvSpPr>
          <p:spPr>
            <a:xfrm>
              <a:off x="537999" y="6047910"/>
              <a:ext cx="376765" cy="37535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55" name="TextBox 54"/>
            <p:cNvSpPr txBox="1"/>
            <p:nvPr>
              <p:custDataLst>
                <p:tags r:id="rId44"/>
              </p:custDataLst>
            </p:nvPr>
          </p:nvSpPr>
          <p:spPr>
            <a:xfrm>
              <a:off x="875119" y="5954425"/>
              <a:ext cx="2049056" cy="586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68" name="Скругленный прямоугольник 67"/>
          <p:cNvSpPr/>
          <p:nvPr>
            <p:custDataLst>
              <p:tags r:id="rId17"/>
            </p:custDataLst>
          </p:nvPr>
        </p:nvSpPr>
        <p:spPr>
          <a:xfrm>
            <a:off x="6012160" y="3645024"/>
            <a:ext cx="2232248" cy="4320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9" name="Скругленный прямоугольник 68"/>
          <p:cNvSpPr/>
          <p:nvPr>
            <p:custDataLst>
              <p:tags r:id="rId18"/>
            </p:custDataLst>
          </p:nvPr>
        </p:nvSpPr>
        <p:spPr>
          <a:xfrm>
            <a:off x="3779912" y="2492896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70" name="Скругленный прямоугольник 69"/>
          <p:cNvSpPr/>
          <p:nvPr>
            <p:custDataLst>
              <p:tags r:id="rId19"/>
            </p:custDataLst>
          </p:nvPr>
        </p:nvSpPr>
        <p:spPr>
          <a:xfrm>
            <a:off x="6012160" y="3717032"/>
            <a:ext cx="864095" cy="360040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5</a:t>
            </a:r>
            <a:endParaRPr lang="ru-RU" sz="2000" b="1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71" name="Скругленный прямоугольник 70"/>
          <p:cNvSpPr/>
          <p:nvPr>
            <p:custDataLst>
              <p:tags r:id="rId20"/>
            </p:custDataLst>
          </p:nvPr>
        </p:nvSpPr>
        <p:spPr>
          <a:xfrm>
            <a:off x="7308304" y="3717032"/>
            <a:ext cx="936103" cy="360040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2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0" name="Text Box 5"/>
          <p:cNvSpPr txBox="1">
            <a:spLocks noChangeArrowheads="1"/>
          </p:cNvSpPr>
          <p:nvPr/>
        </p:nvSpPr>
        <p:spPr bwMode="auto">
          <a:xfrm>
            <a:off x="7452320" y="1052736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23528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Обеспечение жильем молодых семей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pic>
        <p:nvPicPr>
          <p:cNvPr id="45" name="Picture 12" descr="213963_7d179"/>
          <p:cNvPicPr>
            <a:picLocks noChangeAspect="1" noChangeArrowheads="1" noCrop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323527" y="4653136"/>
            <a:ext cx="3027349" cy="189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03848" y="3068960"/>
            <a:ext cx="1080120" cy="504056"/>
          </a:xfrm>
          <a:prstGeom prst="rect">
            <a:avLst/>
          </a:prstGeom>
          <a:noFill/>
        </p:spPr>
      </p:pic>
      <p:pic>
        <p:nvPicPr>
          <p:cNvPr id="44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55976" y="3068960"/>
            <a:ext cx="1080120" cy="504056"/>
          </a:xfrm>
          <a:prstGeom prst="rect">
            <a:avLst/>
          </a:prstGeom>
          <a:noFill/>
        </p:spPr>
      </p:pic>
      <p:pic>
        <p:nvPicPr>
          <p:cNvPr id="4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868144" y="3068960"/>
            <a:ext cx="1080120" cy="504056"/>
          </a:xfrm>
          <a:prstGeom prst="rect">
            <a:avLst/>
          </a:prstGeom>
          <a:noFill/>
        </p:spPr>
      </p:pic>
      <p:pic>
        <p:nvPicPr>
          <p:cNvPr id="4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236296" y="3068960"/>
            <a:ext cx="1080120" cy="504056"/>
          </a:xfrm>
          <a:prstGeom prst="rect">
            <a:avLst/>
          </a:prstGeom>
          <a:noFill/>
        </p:spPr>
      </p:pic>
      <p:sp>
        <p:nvSpPr>
          <p:cNvPr id="50" name="Скругленный прямоугольник 49"/>
          <p:cNvSpPr/>
          <p:nvPr>
            <p:custDataLst>
              <p:tags r:id="rId25"/>
            </p:custDataLst>
          </p:nvPr>
        </p:nvSpPr>
        <p:spPr>
          <a:xfrm>
            <a:off x="6372200" y="1340768"/>
            <a:ext cx="1440160" cy="43204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</a:p>
        </p:txBody>
      </p:sp>
      <p:sp>
        <p:nvSpPr>
          <p:cNvPr id="51" name="Скругленный прямоугольник 50"/>
          <p:cNvSpPr/>
          <p:nvPr>
            <p:custDataLst>
              <p:tags r:id="rId26"/>
            </p:custDataLst>
          </p:nvPr>
        </p:nvSpPr>
        <p:spPr>
          <a:xfrm>
            <a:off x="6072198" y="1844824"/>
            <a:ext cx="2143140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многодетных 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3" name="Скругленный прямоугольник 52"/>
          <p:cNvSpPr/>
          <p:nvPr>
            <p:custDataLst>
              <p:tags r:id="rId27"/>
            </p:custDataLst>
          </p:nvPr>
        </p:nvSpPr>
        <p:spPr>
          <a:xfrm>
            <a:off x="6588224" y="2492896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56" name="Скругленный прямоугольник 55"/>
          <p:cNvSpPr/>
          <p:nvPr>
            <p:custDataLst>
              <p:tags r:id="rId28"/>
            </p:custDataLst>
          </p:nvPr>
        </p:nvSpPr>
        <p:spPr>
          <a:xfrm>
            <a:off x="3275856" y="3645024"/>
            <a:ext cx="2016224" cy="4320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7" name="Скругленный прямоугольник 56"/>
          <p:cNvSpPr/>
          <p:nvPr>
            <p:custDataLst>
              <p:tags r:id="rId29"/>
            </p:custDataLst>
          </p:nvPr>
        </p:nvSpPr>
        <p:spPr>
          <a:xfrm>
            <a:off x="3275856" y="3717032"/>
            <a:ext cx="864095" cy="360040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0</a:t>
            </a:r>
            <a:endParaRPr lang="ru-RU" sz="2000" b="1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8" name="Скругленный прямоугольник 57"/>
          <p:cNvSpPr/>
          <p:nvPr>
            <p:custDataLst>
              <p:tags r:id="rId30"/>
            </p:custDataLst>
          </p:nvPr>
        </p:nvSpPr>
        <p:spPr>
          <a:xfrm>
            <a:off x="4427984" y="3717032"/>
            <a:ext cx="936103" cy="360040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Группа 46"/>
          <p:cNvGrpSpPr/>
          <p:nvPr>
            <p:custDataLst>
              <p:tags r:id="rId31"/>
            </p:custDataLst>
          </p:nvPr>
        </p:nvGrpSpPr>
        <p:grpSpPr>
          <a:xfrm>
            <a:off x="2915816" y="4653136"/>
            <a:ext cx="1656184" cy="360040"/>
            <a:chOff x="637423" y="5954425"/>
            <a:chExt cx="2286752" cy="546720"/>
          </a:xfrm>
        </p:grpSpPr>
        <p:sp>
          <p:nvSpPr>
            <p:cNvPr id="60" name="Овал 59"/>
            <p:cNvSpPr/>
            <p:nvPr>
              <p:custDataLst>
                <p:tags r:id="rId41"/>
              </p:custDataLst>
            </p:nvPr>
          </p:nvSpPr>
          <p:spPr>
            <a:xfrm>
              <a:off x="637423" y="6063769"/>
              <a:ext cx="298272" cy="328032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61" name="TextBox 60"/>
            <p:cNvSpPr txBox="1"/>
            <p:nvPr>
              <p:custDataLst>
                <p:tags r:id="rId42"/>
              </p:custDataLst>
            </p:nvPr>
          </p:nvSpPr>
          <p:spPr>
            <a:xfrm>
              <a:off x="875118" y="5954425"/>
              <a:ext cx="2049057" cy="5467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6" name="Группа 46"/>
          <p:cNvGrpSpPr/>
          <p:nvPr>
            <p:custDataLst>
              <p:tags r:id="rId32"/>
            </p:custDataLst>
          </p:nvPr>
        </p:nvGrpSpPr>
        <p:grpSpPr>
          <a:xfrm>
            <a:off x="5580112" y="4221088"/>
            <a:ext cx="1728192" cy="360040"/>
            <a:chOff x="537999" y="5954425"/>
            <a:chExt cx="2386176" cy="546720"/>
          </a:xfrm>
        </p:grpSpPr>
        <p:sp>
          <p:nvSpPr>
            <p:cNvPr id="63" name="Овал 62"/>
            <p:cNvSpPr/>
            <p:nvPr>
              <p:custDataLst>
                <p:tags r:id="rId39"/>
              </p:custDataLst>
            </p:nvPr>
          </p:nvSpPr>
          <p:spPr>
            <a:xfrm>
              <a:off x="537999" y="6063769"/>
              <a:ext cx="320425" cy="32803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64" name="TextBox 63"/>
            <p:cNvSpPr txBox="1"/>
            <p:nvPr>
              <p:custDataLst>
                <p:tags r:id="rId40"/>
              </p:custDataLst>
            </p:nvPr>
          </p:nvSpPr>
          <p:spPr>
            <a:xfrm>
              <a:off x="875118" y="5954425"/>
              <a:ext cx="2049057" cy="5467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0" name="Группа 52"/>
          <p:cNvGrpSpPr/>
          <p:nvPr>
            <p:custDataLst>
              <p:tags r:id="rId33"/>
            </p:custDataLst>
          </p:nvPr>
        </p:nvGrpSpPr>
        <p:grpSpPr>
          <a:xfrm>
            <a:off x="4427984" y="4653136"/>
            <a:ext cx="1368152" cy="360040"/>
            <a:chOff x="537999" y="5954425"/>
            <a:chExt cx="2386176" cy="586055"/>
          </a:xfrm>
        </p:grpSpPr>
        <p:sp>
          <p:nvSpPr>
            <p:cNvPr id="67" name="Овал 66"/>
            <p:cNvSpPr/>
            <p:nvPr>
              <p:custDataLst>
                <p:tags r:id="rId37"/>
              </p:custDataLst>
            </p:nvPr>
          </p:nvSpPr>
          <p:spPr>
            <a:xfrm>
              <a:off x="537999" y="6047910"/>
              <a:ext cx="376765" cy="37535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4" name="TextBox 73"/>
            <p:cNvSpPr txBox="1"/>
            <p:nvPr>
              <p:custDataLst>
                <p:tags r:id="rId38"/>
              </p:custDataLst>
            </p:nvPr>
          </p:nvSpPr>
          <p:spPr>
            <a:xfrm>
              <a:off x="875119" y="5954425"/>
              <a:ext cx="2049056" cy="586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1" name="Группа 52"/>
          <p:cNvGrpSpPr/>
          <p:nvPr>
            <p:custDataLst>
              <p:tags r:id="rId34"/>
            </p:custDataLst>
          </p:nvPr>
        </p:nvGrpSpPr>
        <p:grpSpPr>
          <a:xfrm>
            <a:off x="7164288" y="4221088"/>
            <a:ext cx="1368152" cy="360040"/>
            <a:chOff x="537999" y="5954425"/>
            <a:chExt cx="2386176" cy="586055"/>
          </a:xfrm>
        </p:grpSpPr>
        <p:sp>
          <p:nvSpPr>
            <p:cNvPr id="81" name="Овал 80"/>
            <p:cNvSpPr/>
            <p:nvPr>
              <p:custDataLst>
                <p:tags r:id="rId35"/>
              </p:custDataLst>
            </p:nvPr>
          </p:nvSpPr>
          <p:spPr>
            <a:xfrm>
              <a:off x="537999" y="6047910"/>
              <a:ext cx="376765" cy="37535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2" name="TextBox 81"/>
            <p:cNvSpPr txBox="1"/>
            <p:nvPr>
              <p:custDataLst>
                <p:tags r:id="rId36"/>
              </p:custDataLst>
            </p:nvPr>
          </p:nvSpPr>
          <p:spPr>
            <a:xfrm>
              <a:off x="875119" y="5954425"/>
              <a:ext cx="2049056" cy="586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52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2</a:t>
            </a:r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ятиугольник 36"/>
          <p:cNvSpPr/>
          <p:nvPr/>
        </p:nvSpPr>
        <p:spPr>
          <a:xfrm>
            <a:off x="5072066" y="3500438"/>
            <a:ext cx="135732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5072066" y="5286388"/>
            <a:ext cx="1370432" cy="77042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4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Овал 49"/>
          <p:cNvSpPr/>
          <p:nvPr/>
        </p:nvSpPr>
        <p:spPr>
          <a:xfrm>
            <a:off x="7452320" y="3501008"/>
            <a:ext cx="135735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7524328" y="5229200"/>
            <a:ext cx="128588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2" name="Пятиугольник 51"/>
          <p:cNvSpPr/>
          <p:nvPr/>
        </p:nvSpPr>
        <p:spPr>
          <a:xfrm>
            <a:off x="5000628" y="1428736"/>
            <a:ext cx="1872778" cy="1229836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488450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340768"/>
            <a:ext cx="4286280" cy="857256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sp>
        <p:nvSpPr>
          <p:cNvPr id="43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79512" y="260648"/>
            <a:ext cx="86787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Финансирование региональных проектов на реализацию федеральных (национальных) проектов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23528" y="4941168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57158" y="3214686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285720" y="3714752"/>
            <a:ext cx="41764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Цифровая культур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4" name="Rectangle 19"/>
          <p:cNvSpPr>
            <a:spLocks noChangeArrowheads="1"/>
          </p:cNvSpPr>
          <p:nvPr/>
        </p:nvSpPr>
        <p:spPr bwMode="auto">
          <a:xfrm>
            <a:off x="755576" y="5301208"/>
            <a:ext cx="31683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7380312" y="1643050"/>
            <a:ext cx="1477968" cy="100013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3</a:t>
            </a:r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Овал 45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/>
        </p:nvGraphicFramePr>
        <p:xfrm>
          <a:off x="214282" y="1203424"/>
          <a:ext cx="8715436" cy="5368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864"/>
                <a:gridCol w="1140422"/>
                <a:gridCol w="1384150"/>
              </a:tblGrid>
              <a:tr h="1085098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1375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офилактика терроризм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1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1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86998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иобретение жилья молодым семьям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,7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3713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6,2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3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2402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Комплектование книжных фондов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3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3056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6,2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25661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современной городской среды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4,4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268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 школы в п. Капельница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,3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438754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425,0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8,6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452320" y="980728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Софинансирование субсидий из регионального (краевого) бюджета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7452320" y="764704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4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Прямая соединительная линия 52"/>
          <p:cNvCxnSpPr/>
          <p:nvPr/>
        </p:nvCxnSpPr>
        <p:spPr>
          <a:xfrm>
            <a:off x="15117235" y="620688"/>
            <a:ext cx="0" cy="58326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11"/>
          <p:cNvGrpSpPr/>
          <p:nvPr/>
        </p:nvGrpSpPr>
        <p:grpSpPr>
          <a:xfrm>
            <a:off x="6444208" y="2000240"/>
            <a:ext cx="2250000" cy="1500198"/>
            <a:chOff x="6749673" y="5713325"/>
            <a:chExt cx="2250000" cy="679098"/>
          </a:xfrm>
        </p:grpSpPr>
        <p:sp>
          <p:nvSpPr>
            <p:cNvPr id="83" name="AutoShape 32"/>
            <p:cNvSpPr>
              <a:spLocks noChangeArrowheads="1"/>
            </p:cNvSpPr>
            <p:nvPr/>
          </p:nvSpPr>
          <p:spPr bwMode="auto">
            <a:xfrm>
              <a:off x="6749673" y="5713325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73" name="Скругленный прямоугольник 72"/>
            <p:cNvSpPr/>
            <p:nvPr/>
          </p:nvSpPr>
          <p:spPr>
            <a:xfrm>
              <a:off x="7495017" y="6101401"/>
              <a:ext cx="756000" cy="291022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5" name="Группа 3"/>
          <p:cNvGrpSpPr/>
          <p:nvPr/>
        </p:nvGrpSpPr>
        <p:grpSpPr>
          <a:xfrm>
            <a:off x="928662" y="1928802"/>
            <a:ext cx="2714644" cy="1928826"/>
            <a:chOff x="6749680" y="1793534"/>
            <a:chExt cx="2250000" cy="727191"/>
          </a:xfrm>
        </p:grpSpPr>
        <p:sp>
          <p:nvSpPr>
            <p:cNvPr id="91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14" name="Скругленный прямоугольник 113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33,1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29" name="Скругленный прямоугольник 128"/>
          <p:cNvSpPr/>
          <p:nvPr/>
        </p:nvSpPr>
        <p:spPr>
          <a:xfrm>
            <a:off x="4008546" y="1268760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0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334,8</a:t>
            </a:r>
            <a:endParaRPr lang="ru-RU" sz="20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Бюджетные инвестиции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000100" y="1928802"/>
            <a:ext cx="2500330" cy="857256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6444208" y="1916832"/>
            <a:ext cx="2232248" cy="72008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7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5</a:t>
            </a:r>
          </a:p>
        </p:txBody>
      </p:sp>
      <p:pic>
        <p:nvPicPr>
          <p:cNvPr id="18" name="Picture 2" descr="http://www.planetakartinok.ru/_ph/121/2/795574096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4077072"/>
            <a:ext cx="224062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7" descr="https://wmpics.pics/di-MQX0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3888" y="4365104"/>
            <a:ext cx="5184576" cy="2221961"/>
          </a:xfrm>
          <a:prstGeom prst="rect">
            <a:avLst/>
          </a:prstGeom>
          <a:noFill/>
        </p:spPr>
      </p:pic>
      <p:pic>
        <p:nvPicPr>
          <p:cNvPr id="20" name="Picture 9" descr="https://otvet.imgsmail.ru/download/u_89091af776a2af79086fe592fa56cf31_800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07904" y="2060848"/>
            <a:ext cx="2664296" cy="24404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5910806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9" grpId="0" animBg="1"/>
      <p:bldP spid="34" grpId="0" animBg="1"/>
      <p:bldP spid="3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5085184"/>
            <a:ext cx="8352928" cy="1484784"/>
          </a:xfrm>
          <a:prstGeom prst="rect">
            <a:avLst/>
          </a:prstGeom>
          <a:noFill/>
        </p:spPr>
      </p:pic>
      <p:graphicFrame>
        <p:nvGraphicFramePr>
          <p:cNvPr id="6" name="Диаграмма 5"/>
          <p:cNvGraphicFramePr/>
          <p:nvPr/>
        </p:nvGraphicFramePr>
        <p:xfrm>
          <a:off x="214282" y="1571612"/>
          <a:ext cx="8643998" cy="478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79512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latin typeface="Arial" charset="0"/>
              </a:rPr>
              <a:t>Объем дорожного фонд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latin typeface="Arial" charset="0"/>
              </a:rPr>
              <a:t>города-курорта Железноводска на 2019 – 2023 гг.</a:t>
            </a:r>
            <a:endParaRPr lang="ru-RU" altLang="ru-RU" sz="2000" b="1" dirty="0">
              <a:latin typeface="Arial" charset="0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6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Прямая соединительная линия 60"/>
          <p:cNvCxnSpPr>
            <a:endCxn id="41" idx="0"/>
          </p:cNvCxnSpPr>
          <p:nvPr/>
        </p:nvCxnSpPr>
        <p:spPr>
          <a:xfrm rot="16200000" flipH="1">
            <a:off x="4266964" y="3019657"/>
            <a:ext cx="1785948" cy="1033001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endCxn id="20" idx="0"/>
          </p:cNvCxnSpPr>
          <p:nvPr/>
        </p:nvCxnSpPr>
        <p:spPr>
          <a:xfrm rot="10800000" flipV="1">
            <a:off x="1186390" y="2643182"/>
            <a:ext cx="2671230" cy="178595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755577" y="1052736"/>
            <a:ext cx="1872208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755576" y="1124744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899592" y="1700808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5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3143240" y="1916832"/>
            <a:ext cx="2857520" cy="72008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3286116" y="1857364"/>
            <a:ext cx="24482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бюджета города</a:t>
            </a:r>
            <a:endParaRPr lang="ru-RU" sz="14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3635896" y="2428868"/>
            <a:ext cx="1683378" cy="214314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2564904"/>
            <a:ext cx="2016224" cy="113261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2564904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жная разметка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с применением термопластика</a:t>
            </a:r>
            <a:endParaRPr lang="ru-RU" sz="14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95536" y="3284984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14282" y="4429132"/>
            <a:ext cx="2160240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214282" y="4429132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58298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3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2" name="Группа 8"/>
          <p:cNvGrpSpPr/>
          <p:nvPr/>
        </p:nvGrpSpPr>
        <p:grpSpPr>
          <a:xfrm>
            <a:off x="3563888" y="1052736"/>
            <a:ext cx="1897635" cy="648072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9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20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36,2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2771800" y="1340768"/>
            <a:ext cx="720080" cy="7200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8" idx="1"/>
          </p:cNvCxnSpPr>
          <p:nvPr/>
        </p:nvCxnSpPr>
        <p:spPr>
          <a:xfrm flipV="1">
            <a:off x="2350012" y="2276872"/>
            <a:ext cx="793228" cy="34398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4499992" y="1772816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endCxn id="8" idx="3"/>
          </p:cNvCxnSpPr>
          <p:nvPr/>
        </p:nvCxnSpPr>
        <p:spPr>
          <a:xfrm rot="10800000">
            <a:off x="6000760" y="2276872"/>
            <a:ext cx="1101780" cy="27197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7"/>
            </p:custDataLst>
          </p:nvPr>
        </p:nvSpPr>
        <p:spPr>
          <a:xfrm>
            <a:off x="4571430" y="4429132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>
            <p:custDataLst>
              <p:tags r:id="rId8"/>
            </p:custDataLst>
          </p:nvPr>
        </p:nvSpPr>
        <p:spPr>
          <a:xfrm>
            <a:off x="4787454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9"/>
            </p:custDataLst>
          </p:nvPr>
        </p:nvSpPr>
        <p:spPr>
          <a:xfrm>
            <a:off x="4643438" y="4429132"/>
            <a:ext cx="206600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благоустройство подземного перехода</a:t>
            </a:r>
            <a:endParaRPr lang="ru-RU" sz="1400" b="1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47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7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10"/>
            </p:custDataLst>
          </p:nvPr>
        </p:nvSpPr>
        <p:spPr>
          <a:xfrm>
            <a:off x="2428860" y="4429132"/>
            <a:ext cx="2111187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/>
          <p:nvPr>
            <p:custDataLst>
              <p:tags r:id="rId11"/>
            </p:custDataLst>
          </p:nvPr>
        </p:nvSpPr>
        <p:spPr>
          <a:xfrm>
            <a:off x="6929454" y="2714620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>
            <p:custDataLst>
              <p:tags r:id="rId12"/>
            </p:custDataLst>
          </p:nvPr>
        </p:nvSpPr>
        <p:spPr>
          <a:xfrm>
            <a:off x="2572876" y="4501140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пешеходные ограждения</a:t>
            </a:r>
            <a:endParaRPr lang="ru-RU" sz="1400" b="1" dirty="0"/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6786578" y="2786058"/>
            <a:ext cx="219573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безопасность дорожного движения</a:t>
            </a:r>
            <a:endParaRPr lang="ru-RU" sz="1400" b="1" dirty="0"/>
          </a:p>
        </p:txBody>
      </p:sp>
      <p:sp>
        <p:nvSpPr>
          <p:cNvPr id="86" name="Скругленный прямоугольник 85"/>
          <p:cNvSpPr/>
          <p:nvPr>
            <p:custDataLst>
              <p:tags r:id="rId14"/>
            </p:custDataLst>
          </p:nvPr>
        </p:nvSpPr>
        <p:spPr>
          <a:xfrm>
            <a:off x="7143768" y="3357562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7" name="Скругленный прямоугольник 86"/>
          <p:cNvSpPr/>
          <p:nvPr>
            <p:custDataLst>
              <p:tags r:id="rId15"/>
            </p:custDataLst>
          </p:nvPr>
        </p:nvSpPr>
        <p:spPr>
          <a:xfrm>
            <a:off x="2644884" y="507720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58" name="Прямая соединительная линия 57"/>
          <p:cNvCxnSpPr>
            <a:endCxn id="65" idx="0"/>
          </p:cNvCxnSpPr>
          <p:nvPr/>
        </p:nvCxnSpPr>
        <p:spPr>
          <a:xfrm rot="5400000">
            <a:off x="2920940" y="3206698"/>
            <a:ext cx="1785948" cy="65892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Скругленный прямоугольник 35"/>
          <p:cNvSpPr/>
          <p:nvPr>
            <p:custDataLst>
              <p:tags r:id="rId16"/>
            </p:custDataLst>
          </p:nvPr>
        </p:nvSpPr>
        <p:spPr>
          <a:xfrm>
            <a:off x="6643702" y="4429132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>
            <p:custDataLst>
              <p:tags r:id="rId17"/>
            </p:custDataLst>
          </p:nvPr>
        </p:nvSpPr>
        <p:spPr>
          <a:xfrm>
            <a:off x="6572264" y="4572008"/>
            <a:ext cx="2195736" cy="30630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Прочие мероприятия</a:t>
            </a:r>
            <a:endParaRPr lang="ru-RU" sz="1400" b="1" dirty="0"/>
          </a:p>
        </p:txBody>
      </p:sp>
      <p:sp>
        <p:nvSpPr>
          <p:cNvPr id="39" name="Скругленный прямоугольник 38"/>
          <p:cNvSpPr/>
          <p:nvPr>
            <p:custDataLst>
              <p:tags r:id="rId18"/>
            </p:custDataLst>
          </p:nvPr>
        </p:nvSpPr>
        <p:spPr>
          <a:xfrm>
            <a:off x="6786578" y="507207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6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2" name="Прямая соединительная линия 41"/>
          <p:cNvCxnSpPr>
            <a:endCxn id="36" idx="0"/>
          </p:cNvCxnSpPr>
          <p:nvPr/>
        </p:nvCxnSpPr>
        <p:spPr>
          <a:xfrm>
            <a:off x="5643572" y="2643184"/>
            <a:ext cx="2001972" cy="178594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0" y="476672"/>
          <a:ext cx="9144000" cy="6381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8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2563652">
            <a:off x="3677997" y="1955836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3528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Муниципальный внутренний долг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Ставропольского края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8</a:t>
            </a:r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7502706"/>
              </p:ext>
            </p:extLst>
          </p:nvPr>
        </p:nvGraphicFramePr>
        <p:xfrm>
          <a:off x="179512" y="1268761"/>
          <a:ext cx="8712967" cy="5328591"/>
        </p:xfrm>
        <a:graphic>
          <a:graphicData uri="http://schemas.openxmlformats.org/drawingml/2006/table">
            <a:tbl>
              <a:tblPr/>
              <a:tblGrid>
                <a:gridCol w="1534968"/>
                <a:gridCol w="964581"/>
                <a:gridCol w="1442869"/>
                <a:gridCol w="1202391"/>
                <a:gridCol w="1475316"/>
                <a:gridCol w="1046421"/>
                <a:gridCol w="1046421"/>
              </a:tblGrid>
              <a:tr h="119000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08" marR="5708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19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(отчет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20 год </a:t>
                      </a:r>
                      <a:b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</a:br>
                      <a:r>
                        <a:rPr lang="ru-RU" sz="12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(первоначальный план)</a:t>
                      </a:r>
                      <a:endParaRPr lang="ru-RU" sz="12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20 год (оценка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21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год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22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2023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8339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Доходы, </a:t>
                      </a:r>
                      <a:endParaRPr lang="ru-RU" sz="1600" b="1" i="0" u="none" strike="noStrike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из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них: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 795,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929,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 885,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768,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660,6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284,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5095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налоговые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и неналоговые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45,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46,2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57,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46,7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47,8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52,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092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600" b="1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дотации</a:t>
                      </a:r>
                      <a:endParaRPr lang="ru-RU" sz="1600" b="1" i="0" u="none" strike="noStrike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89,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34,2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409,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301,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45,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238,6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8754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Расходы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 793,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920,8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 819,8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768,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660,6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1 284,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80374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Дефицит «-»,</a:t>
                      </a:r>
                    </a:p>
                    <a:p>
                      <a:pPr algn="l" fontAlgn="b"/>
                      <a:r>
                        <a:rPr lang="ru-RU" sz="1600" b="1" i="0" u="none" strike="noStrike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профицит</a:t>
                      </a:r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 «+»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,8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-8,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5,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0,0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80374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Муниципальный</a:t>
                      </a:r>
                      <a:r>
                        <a:rPr lang="ru-RU" sz="1600" b="1" i="0" u="none" strike="noStrike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/>
                        </a:rPr>
                        <a:t> долг на конец года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,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0,0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79512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Основные параметры бюджета города-курорта Железноводска на 2019-2023 гг. </a:t>
            </a:r>
            <a:endParaRPr lang="ru-RU" alt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7524328" y="764704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</a:t>
            </a: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7524328" y="980728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642910" y="1500174"/>
            <a:ext cx="792961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4400" b="1" dirty="0" smtClean="0">
                <a:solidFill>
                  <a:srgbClr val="190F65"/>
                </a:solidFill>
                <a:latin typeface="Comic Sans MS" pitchFamily="66" charset="0"/>
                <a:cs typeface="BrowalliaUPC" pitchFamily="34" charset="-34"/>
              </a:rPr>
              <a:t>Экономика есть искусство удовлетворять безграничные потребности при помощи ограниченных ресурсов </a:t>
            </a:r>
            <a:endParaRPr lang="ru-RU" altLang="ru-RU" sz="4400" b="1" dirty="0">
              <a:solidFill>
                <a:srgbClr val="190F65"/>
              </a:solidFill>
              <a:latin typeface="Comic Sans MS" pitchFamily="66" charset="0"/>
              <a:cs typeface="BrowalliaUPC" pitchFamily="34" charset="-34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08104" y="5301208"/>
            <a:ext cx="31432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3200" b="1" i="1" dirty="0" smtClean="0">
                <a:solidFill>
                  <a:srgbClr val="190F65"/>
                </a:solidFill>
                <a:latin typeface="Book Antiqua" pitchFamily="18" charset="0"/>
                <a:cs typeface="DilleniaUPC" pitchFamily="18" charset="-34"/>
              </a:rPr>
              <a:t>Лоренс Питер</a:t>
            </a:r>
            <a:endParaRPr lang="ru-RU" altLang="ru-RU" sz="3200" b="1" i="1" dirty="0">
              <a:solidFill>
                <a:srgbClr val="190F65"/>
              </a:solidFill>
              <a:latin typeface="Book Antiqua" pitchFamily="18" charset="0"/>
              <a:cs typeface="DilleniaUPC" pitchFamily="18" charset="-3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3" descr="Снежинки - Анимашки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92280" y="0"/>
            <a:ext cx="1656184" cy="4200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3" descr="Снежинки - Анимашки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404664"/>
            <a:ext cx="1512168" cy="3939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9" descr="Звезды - Анимашки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5856" y="188640"/>
            <a:ext cx="2160240" cy="2390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251520" y="1196752"/>
            <a:ext cx="8712968" cy="1938992"/>
          </a:xfrm>
          <a:prstGeom prst="rect">
            <a:avLst/>
          </a:prstGeom>
          <a:solidFill>
            <a:srgbClr val="EAEAEA">
              <a:alpha val="50196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6000" b="1" dirty="0" smtClean="0">
                <a:solidFill>
                  <a:srgbClr val="190F65"/>
                </a:solidFill>
                <a:latin typeface="Comic Sans MS" pitchFamily="66" charset="0"/>
                <a:cs typeface="DokChampa" pitchFamily="34" charset="-34"/>
              </a:rPr>
              <a:t>СПАСИБО ЗА ВНИМАНИЕ!</a:t>
            </a:r>
            <a:endParaRPr lang="ru-RU" sz="6000" b="1" dirty="0">
              <a:solidFill>
                <a:srgbClr val="190F65"/>
              </a:solidFill>
              <a:latin typeface="Comic Sans MS" pitchFamily="66" charset="0"/>
              <a:cs typeface="DokChampa" pitchFamily="34" charset="-34"/>
            </a:endParaRPr>
          </a:p>
        </p:txBody>
      </p:sp>
      <p:pic>
        <p:nvPicPr>
          <p:cNvPr id="11" name="Picture 39" descr="Звезды - Анимашки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5856" y="3212976"/>
            <a:ext cx="2160240" cy="2390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83" descr="Снеговики - Анимашки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2160" y="3140968"/>
            <a:ext cx="2761950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7" descr="705034856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4509120"/>
            <a:ext cx="1512168" cy="169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 descr="Новыйгод - Анимашки"/>
          <p:cNvPicPr>
            <a:picLocks noChangeAspect="1" noChangeArrowheads="1" noCrop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19872" y="5373216"/>
            <a:ext cx="12241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81" descr="Снеговики - Анимашки"/>
          <p:cNvPicPr>
            <a:picLocks noChangeAspect="1" noChangeArrowheads="1" noCrop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43808" y="4653136"/>
            <a:ext cx="792088" cy="1170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85" descr="GIF Снеговики - Анимашки"/>
          <p:cNvPicPr>
            <a:picLocks noChangeAspect="1" noChangeArrowheads="1" noCrop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12160" y="4797152"/>
            <a:ext cx="1152128" cy="122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01" descr="Елка, Новыйгод - Анимашки"/>
          <p:cNvPicPr>
            <a:picLocks noChangeAspect="1" noChangeArrowheads="1" noCrop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1988840"/>
            <a:ext cx="3128933" cy="4587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285860"/>
            <a:ext cx="1243012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Схема  № 2</a:t>
            </a:r>
          </a:p>
          <a:p>
            <a:pPr eaLnBrk="1" hangingPunct="1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млн.рублей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357158" y="357166"/>
            <a:ext cx="8643998" cy="714380"/>
          </a:xfrm>
          <a:prstGeom prst="roundRect">
            <a:avLst>
              <a:gd name="adj" fmla="val 16667"/>
            </a:avLst>
          </a:prstGeom>
          <a:solidFill>
            <a:srgbClr val="E86E0A"/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инамика поступлений доходов бюджета </a:t>
            </a:r>
            <a:b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рода-курорта Железноводска Ставропольского края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571612"/>
          <a:ext cx="8286808" cy="4857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524328" y="980728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9512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Динамика поступлений налоговых и неналоговых доходов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бюджета города-курорта Железноводска на 2019-2023гг. </a:t>
            </a:r>
            <a:endParaRPr lang="ru-RU" alt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268760"/>
          <a:ext cx="8678192" cy="5089197"/>
        </p:xfrm>
        <a:graphic>
          <a:graphicData uri="http://schemas.openxmlformats.org/drawingml/2006/table">
            <a:tbl>
              <a:tblPr/>
              <a:tblGrid>
                <a:gridCol w="2000264"/>
                <a:gridCol w="966650"/>
                <a:gridCol w="1057644"/>
                <a:gridCol w="981232"/>
                <a:gridCol w="792088"/>
                <a:gridCol w="765026"/>
                <a:gridCol w="1057644"/>
                <a:gridCol w="1057644"/>
              </a:tblGrid>
              <a:tr h="49220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Источники доходов 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19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 (отчет)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 (оценка)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 (прогноз)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тклонение к  оценке 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а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 (прогноз)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3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год (прогноз)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</a:tr>
              <a:tr h="354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абс</a:t>
                      </a: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.  сумма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C8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6421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обственные доходы (всего)</a:t>
                      </a:r>
                      <a:r>
                        <a:rPr lang="ru-RU" sz="18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8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7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46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65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Налоговые доходы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0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0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1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65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Налог на доходы физических лиц 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7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6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6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6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6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2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4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Акцизы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5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</a:tr>
              <a:tr h="58307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Налоги на совокупный доход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4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2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73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Налог на имущество физических лиц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</a:tr>
              <a:tr h="3224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Земельный налог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3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6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7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0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6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73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Прочие налоговые доходы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8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</a:tr>
              <a:tr h="3224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Неналоговые доходы</a:t>
                      </a:r>
                    </a:p>
                  </a:txBody>
                  <a:tcPr marL="5596" marR="5596" marT="5596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1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1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7524329" y="857232"/>
            <a:ext cx="126251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3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23797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Схема № 4</a:t>
            </a:r>
          </a:p>
          <a:p>
            <a:pPr eaLnBrk="1" hangingPunct="1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млн.рублей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571472" y="357166"/>
            <a:ext cx="8143932" cy="857256"/>
          </a:xfrm>
          <a:prstGeom prst="roundRect">
            <a:avLst>
              <a:gd name="adj" fmla="val 16667"/>
            </a:avLst>
          </a:prstGeom>
          <a:solidFill>
            <a:srgbClr val="E86E0A"/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безвозмездных поступлений в бюджет </a:t>
            </a:r>
            <a:b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рода-курорта Железноводска Ставропольского края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500174"/>
          <a:ext cx="8215370" cy="5214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6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554774">
            <a:off x="6350379" y="2220025"/>
            <a:ext cx="1143000" cy="717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179512" y="5157192"/>
            <a:ext cx="2160588" cy="936104"/>
          </a:xfrm>
          <a:prstGeom prst="can">
            <a:avLst>
              <a:gd name="adj" fmla="val 39619"/>
            </a:avLst>
          </a:prstGeom>
          <a:solidFill>
            <a:srgbClr val="003399"/>
          </a:solidFill>
          <a:ln w="9525">
            <a:solidFill>
              <a:srgbClr val="000099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solidFill>
                  <a:schemeClr val="bg1"/>
                </a:solidFill>
              </a:rPr>
              <a:t>52,9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2339752" y="4221088"/>
            <a:ext cx="2160588" cy="936104"/>
          </a:xfrm>
          <a:prstGeom prst="can">
            <a:avLst>
              <a:gd name="adj" fmla="val 40065"/>
            </a:avLst>
          </a:prstGeom>
          <a:solidFill>
            <a:srgbClr val="0066FF"/>
          </a:solidFill>
          <a:ln w="9525">
            <a:solidFill>
              <a:srgbClr val="000099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/>
              <a:t>48,2</a:t>
            </a:r>
            <a:endParaRPr lang="ru-RU" sz="2400" b="1" dirty="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572000" y="3429000"/>
            <a:ext cx="2160588" cy="1008112"/>
          </a:xfrm>
          <a:prstGeom prst="can">
            <a:avLst>
              <a:gd name="adj" fmla="val 40922"/>
            </a:avLst>
          </a:prstGeom>
          <a:solidFill>
            <a:srgbClr val="0099FF"/>
          </a:solidFill>
          <a:ln w="9525">
            <a:solidFill>
              <a:srgbClr val="000099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/>
              <a:t>51,3</a:t>
            </a:r>
            <a:endParaRPr lang="ru-RU" sz="2400" b="1" dirty="0"/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6804248" y="2564904"/>
            <a:ext cx="2160588" cy="936104"/>
          </a:xfrm>
          <a:prstGeom prst="can">
            <a:avLst>
              <a:gd name="adj" fmla="val 39408"/>
            </a:avLst>
          </a:prstGeom>
          <a:solidFill>
            <a:srgbClr val="33CCFF"/>
          </a:solidFill>
          <a:ln w="9525">
            <a:solidFill>
              <a:srgbClr val="000099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/>
              <a:t>0,0</a:t>
            </a:r>
            <a:endParaRPr lang="ru-RU" sz="2400" b="1" dirty="0"/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323528" y="4357695"/>
            <a:ext cx="1656184" cy="830997"/>
          </a:xfrm>
          <a:prstGeom prst="rect">
            <a:avLst/>
          </a:prstGeom>
          <a:solidFill>
            <a:srgbClr val="CCECFF">
              <a:alpha val="25098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sz="2400" b="1" dirty="0" smtClean="0"/>
              <a:t>  </a:t>
            </a:r>
            <a:r>
              <a:rPr lang="ru-RU" sz="2400" b="1" dirty="0" smtClean="0">
                <a:solidFill>
                  <a:srgbClr val="0033CC"/>
                </a:solidFill>
              </a:rPr>
              <a:t>2020 год (факт)</a:t>
            </a:r>
            <a:endParaRPr lang="ru-RU" sz="2400" b="1" dirty="0">
              <a:solidFill>
                <a:srgbClr val="0033CC"/>
              </a:solidFill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2555776" y="3717032"/>
            <a:ext cx="1656184" cy="461665"/>
          </a:xfrm>
          <a:prstGeom prst="rect">
            <a:avLst/>
          </a:prstGeom>
          <a:solidFill>
            <a:srgbClr val="CCECFF">
              <a:alpha val="25098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400" b="1" dirty="0" smtClean="0"/>
              <a:t>  </a:t>
            </a:r>
            <a:r>
              <a:rPr lang="ru-RU" sz="2400" b="1" dirty="0" smtClean="0">
                <a:solidFill>
                  <a:srgbClr val="0033CC"/>
                </a:solidFill>
              </a:rPr>
              <a:t>2021 </a:t>
            </a:r>
            <a:r>
              <a:rPr lang="ru-RU" sz="2400" b="1" dirty="0">
                <a:solidFill>
                  <a:srgbClr val="0033CC"/>
                </a:solidFill>
              </a:rPr>
              <a:t>год</a:t>
            </a: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4788024" y="2780928"/>
            <a:ext cx="1656184" cy="461665"/>
          </a:xfrm>
          <a:prstGeom prst="rect">
            <a:avLst/>
          </a:prstGeom>
          <a:solidFill>
            <a:srgbClr val="CCECFF">
              <a:alpha val="25098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400" b="1" dirty="0" smtClean="0"/>
              <a:t>  </a:t>
            </a:r>
            <a:r>
              <a:rPr lang="ru-RU" sz="2400" b="1" dirty="0" smtClean="0">
                <a:solidFill>
                  <a:srgbClr val="0033CC"/>
                </a:solidFill>
              </a:rPr>
              <a:t>2022 </a:t>
            </a:r>
            <a:r>
              <a:rPr lang="ru-RU" sz="2400" b="1" dirty="0">
                <a:solidFill>
                  <a:srgbClr val="0033CC"/>
                </a:solidFill>
              </a:rPr>
              <a:t>год</a:t>
            </a: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7020272" y="1916832"/>
            <a:ext cx="1656184" cy="461665"/>
          </a:xfrm>
          <a:prstGeom prst="rect">
            <a:avLst/>
          </a:prstGeom>
          <a:solidFill>
            <a:srgbClr val="CCECFF">
              <a:alpha val="25098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400" b="1" dirty="0" smtClean="0"/>
              <a:t>  </a:t>
            </a:r>
            <a:r>
              <a:rPr lang="ru-RU" sz="2400" b="1" dirty="0" smtClean="0">
                <a:solidFill>
                  <a:srgbClr val="0033CC"/>
                </a:solidFill>
              </a:rPr>
              <a:t>2023 </a:t>
            </a:r>
            <a:r>
              <a:rPr lang="ru-RU" sz="2400" b="1" dirty="0">
                <a:solidFill>
                  <a:srgbClr val="0033CC"/>
                </a:solidFill>
              </a:rPr>
              <a:t>год</a:t>
            </a:r>
          </a:p>
        </p:txBody>
      </p:sp>
      <p:pic>
        <p:nvPicPr>
          <p:cNvPr id="15" name="Picture 6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3941491">
            <a:off x="2940596" y="5273888"/>
            <a:ext cx="7200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6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092090">
            <a:off x="7476805" y="4523580"/>
            <a:ext cx="1143000" cy="800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048671">
            <a:off x="5237414" y="5582415"/>
            <a:ext cx="1143000" cy="801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0270633">
            <a:off x="543011" y="2973419"/>
            <a:ext cx="1143000" cy="62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26" name="Picture 4" descr="http://apingtu.edu.ru/emrPM/WEBQcpse/other/foto/binoculars-2leccg7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596" y="857232"/>
            <a:ext cx="2000264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Прямоугольник 27"/>
          <p:cNvSpPr/>
          <p:nvPr/>
        </p:nvSpPr>
        <p:spPr>
          <a:xfrm>
            <a:off x="323528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Иные межбюджетные трансферты за счет курортного сбор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рода-курорта Железноводска</a:t>
            </a:r>
            <a:endParaRPr lang="ru-RU" alt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5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251520" y="1500174"/>
          <a:ext cx="8892480" cy="6105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" name="Группа 25"/>
          <p:cNvGrpSpPr/>
          <p:nvPr/>
        </p:nvGrpSpPr>
        <p:grpSpPr>
          <a:xfrm rot="409763">
            <a:off x="4083537" y="3089434"/>
            <a:ext cx="1514965" cy="285556"/>
            <a:chOff x="1389359" y="3286222"/>
            <a:chExt cx="1435312" cy="285556"/>
          </a:xfrm>
        </p:grpSpPr>
        <p:sp>
          <p:nvSpPr>
            <p:cNvPr id="17" name="Стрелка вверх 16"/>
            <p:cNvSpPr/>
            <p:nvPr>
              <p:custDataLst>
                <p:tags r:id="rId4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solidFill>
              <a:srgbClr val="EB695B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ln w="120650" cap="rnd">
              <a:gradFill flip="none" rotWithShape="1"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2000">
                    <a:srgbClr val="FFC000">
                      <a:alpha val="28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9"/>
          <p:cNvGrpSpPr/>
          <p:nvPr/>
        </p:nvGrpSpPr>
        <p:grpSpPr>
          <a:xfrm rot="952971">
            <a:off x="778728" y="2681935"/>
            <a:ext cx="3084698" cy="900806"/>
            <a:chOff x="840757" y="3051258"/>
            <a:chExt cx="3185404" cy="1152940"/>
          </a:xfrm>
        </p:grpSpPr>
        <p:sp>
          <p:nvSpPr>
            <p:cNvPr id="20" name="Стрелка вверх 19"/>
            <p:cNvSpPr/>
            <p:nvPr>
              <p:custDataLst>
                <p:tags r:id="rId3"/>
              </p:custDataLst>
            </p:nvPr>
          </p:nvSpPr>
          <p:spPr>
            <a:xfrm rot="4768112">
              <a:off x="3754883" y="3065536"/>
              <a:ext cx="285555" cy="257000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1" name="Прямая соединительная линия 20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ln w="120650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4"/>
          <p:cNvGrpSpPr/>
          <p:nvPr/>
        </p:nvGrpSpPr>
        <p:grpSpPr>
          <a:xfrm rot="265559" flipV="1">
            <a:off x="6066836" y="3424022"/>
            <a:ext cx="1742151" cy="510020"/>
            <a:chOff x="6228184" y="3098549"/>
            <a:chExt cx="1697532" cy="570291"/>
          </a:xfrm>
        </p:grpSpPr>
        <p:sp>
          <p:nvSpPr>
            <p:cNvPr id="23" name="Стрелка вверх 22"/>
            <p:cNvSpPr/>
            <p:nvPr>
              <p:custDataLst>
                <p:tags r:id="rId2"/>
              </p:custDataLst>
            </p:nvPr>
          </p:nvSpPr>
          <p:spPr>
            <a:xfrm rot="4633723">
              <a:off x="7654438" y="3112827"/>
              <a:ext cx="285556" cy="257000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4" name="Прямая соединительная линия 23"/>
            <p:cNvCxnSpPr/>
            <p:nvPr/>
          </p:nvCxnSpPr>
          <p:spPr>
            <a:xfrm flipH="1">
              <a:off x="6228184" y="3346526"/>
              <a:ext cx="1279878" cy="322314"/>
            </a:xfrm>
            <a:prstGeom prst="line">
              <a:avLst/>
            </a:prstGeom>
            <a:ln w="120650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Овал 26"/>
          <p:cNvSpPr/>
          <p:nvPr/>
        </p:nvSpPr>
        <p:spPr>
          <a:xfrm>
            <a:off x="357158" y="1785926"/>
            <a:ext cx="1566174" cy="24482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25" descr="http://garysanis.com/Pics/Work/BusinessmanPointingSalesUpGraph_Big.gif"/>
          <p:cNvPicPr>
            <a:picLocks noChangeAspect="1" noChangeArrowheads="1" noCrop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32040" y="4358835"/>
            <a:ext cx="2304256" cy="1402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/>
          <p:cNvSpPr/>
          <p:nvPr/>
        </p:nvSpPr>
        <p:spPr>
          <a:xfrm>
            <a:off x="251520" y="260648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бюджет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в 2018-2023 гг.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6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6</a:t>
            </a:r>
          </a:p>
        </p:txBody>
      </p:sp>
    </p:spTree>
    <p:extLst>
      <p:ext uri="{BB962C8B-B14F-4D97-AF65-F5344CB8AC3E}">
        <p14:creationId xmlns:p14="http://schemas.microsoft.com/office/powerpoint/2010/main" xmlns="" val="387163438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2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34" name="think-cell Slide" r:id="rId6" imgW="360" imgH="360" progId="">
              <p:embed/>
            </p:oleObj>
          </a:graphicData>
        </a:graphic>
      </p:graphicFrame>
      <p:sp>
        <p:nvSpPr>
          <p:cNvPr id="236546" name="AutoShape 2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6548" name="AutoShape 4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6550" name="AutoShape 6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" name="Группа 33"/>
          <p:cNvGrpSpPr/>
          <p:nvPr/>
        </p:nvGrpSpPr>
        <p:grpSpPr>
          <a:xfrm>
            <a:off x="395536" y="1628800"/>
            <a:ext cx="2988840" cy="2889777"/>
            <a:chOff x="4327525" y="1006475"/>
            <a:chExt cx="5683932" cy="5676900"/>
          </a:xfrm>
          <a:scene3d>
            <a:camera prst="isometricTopUp">
              <a:rot lat="18036561" lon="151961" rev="14157"/>
            </a:camera>
            <a:lightRig rig="flood" dir="t">
              <a:rot lat="0" lon="0" rev="0"/>
            </a:lightRig>
          </a:scene3d>
        </p:grpSpPr>
        <p:sp>
          <p:nvSpPr>
            <p:cNvPr id="649224" name="Freeform 8"/>
            <p:cNvSpPr>
              <a:spLocks/>
            </p:cNvSpPr>
            <p:nvPr/>
          </p:nvSpPr>
          <p:spPr bwMode="auto">
            <a:xfrm>
              <a:off x="4327525" y="1006475"/>
              <a:ext cx="5497513" cy="5676900"/>
            </a:xfrm>
            <a:custGeom>
              <a:avLst/>
              <a:gdLst/>
              <a:ahLst/>
              <a:cxnLst>
                <a:cxn ang="0">
                  <a:pos x="895" y="0"/>
                </a:cxn>
                <a:cxn ang="0">
                  <a:pos x="1341" y="117"/>
                </a:cxn>
                <a:cxn ang="0">
                  <a:pos x="1619" y="363"/>
                </a:cxn>
                <a:cxn ang="0">
                  <a:pos x="1727" y="553"/>
                </a:cxn>
                <a:cxn ang="0">
                  <a:pos x="1723" y="563"/>
                </a:cxn>
                <a:cxn ang="0">
                  <a:pos x="1496" y="654"/>
                </a:cxn>
                <a:cxn ang="0">
                  <a:pos x="1274" y="744"/>
                </a:cxn>
                <a:cxn ang="0">
                  <a:pos x="1002" y="854"/>
                </a:cxn>
                <a:cxn ang="0">
                  <a:pos x="905" y="893"/>
                </a:cxn>
                <a:cxn ang="0">
                  <a:pos x="898" y="902"/>
                </a:cxn>
                <a:cxn ang="0">
                  <a:pos x="864" y="1226"/>
                </a:cxn>
                <a:cxn ang="0">
                  <a:pos x="834" y="1499"/>
                </a:cxn>
                <a:cxn ang="0">
                  <a:pos x="808" y="1736"/>
                </a:cxn>
                <a:cxn ang="0">
                  <a:pos x="803" y="1778"/>
                </a:cxn>
                <a:cxn ang="0">
                  <a:pos x="795" y="1785"/>
                </a:cxn>
                <a:cxn ang="0">
                  <a:pos x="536" y="1714"/>
                </a:cxn>
                <a:cxn ang="0">
                  <a:pos x="330" y="1586"/>
                </a:cxn>
                <a:cxn ang="0">
                  <a:pos x="116" y="1329"/>
                </a:cxn>
                <a:cxn ang="0">
                  <a:pos x="20" y="1065"/>
                </a:cxn>
                <a:cxn ang="0">
                  <a:pos x="9" y="805"/>
                </a:cxn>
                <a:cxn ang="0">
                  <a:pos x="96" y="500"/>
                </a:cxn>
                <a:cxn ang="0">
                  <a:pos x="255" y="273"/>
                </a:cxn>
                <a:cxn ang="0">
                  <a:pos x="522" y="83"/>
                </a:cxn>
                <a:cxn ang="0">
                  <a:pos x="807" y="5"/>
                </a:cxn>
                <a:cxn ang="0">
                  <a:pos x="895" y="0"/>
                </a:cxn>
              </a:cxnLst>
              <a:rect l="0" t="0" r="r" b="b"/>
              <a:pathLst>
                <a:path w="1729" h="1785">
                  <a:moveTo>
                    <a:pt x="895" y="0"/>
                  </a:moveTo>
                  <a:cubicBezTo>
                    <a:pt x="1054" y="0"/>
                    <a:pt x="1203" y="38"/>
                    <a:pt x="1341" y="117"/>
                  </a:cubicBezTo>
                  <a:cubicBezTo>
                    <a:pt x="1451" y="179"/>
                    <a:pt x="1544" y="261"/>
                    <a:pt x="1619" y="363"/>
                  </a:cubicBezTo>
                  <a:cubicBezTo>
                    <a:pt x="1663" y="422"/>
                    <a:pt x="1699" y="485"/>
                    <a:pt x="1727" y="553"/>
                  </a:cubicBezTo>
                  <a:cubicBezTo>
                    <a:pt x="1729" y="558"/>
                    <a:pt x="1729" y="560"/>
                    <a:pt x="1723" y="563"/>
                  </a:cubicBezTo>
                  <a:cubicBezTo>
                    <a:pt x="1647" y="593"/>
                    <a:pt x="1571" y="624"/>
                    <a:pt x="1496" y="654"/>
                  </a:cubicBezTo>
                  <a:cubicBezTo>
                    <a:pt x="1422" y="684"/>
                    <a:pt x="1348" y="714"/>
                    <a:pt x="1274" y="744"/>
                  </a:cubicBezTo>
                  <a:cubicBezTo>
                    <a:pt x="1183" y="780"/>
                    <a:pt x="1093" y="817"/>
                    <a:pt x="1002" y="854"/>
                  </a:cubicBezTo>
                  <a:cubicBezTo>
                    <a:pt x="970" y="867"/>
                    <a:pt x="937" y="880"/>
                    <a:pt x="905" y="893"/>
                  </a:cubicBezTo>
                  <a:cubicBezTo>
                    <a:pt x="901" y="895"/>
                    <a:pt x="899" y="897"/>
                    <a:pt x="898" y="902"/>
                  </a:cubicBezTo>
                  <a:cubicBezTo>
                    <a:pt x="887" y="1010"/>
                    <a:pt x="875" y="1118"/>
                    <a:pt x="864" y="1226"/>
                  </a:cubicBezTo>
                  <a:cubicBezTo>
                    <a:pt x="854" y="1317"/>
                    <a:pt x="843" y="1408"/>
                    <a:pt x="834" y="1499"/>
                  </a:cubicBezTo>
                  <a:cubicBezTo>
                    <a:pt x="825" y="1578"/>
                    <a:pt x="816" y="1657"/>
                    <a:pt x="808" y="1736"/>
                  </a:cubicBezTo>
                  <a:cubicBezTo>
                    <a:pt x="806" y="1750"/>
                    <a:pt x="804" y="1764"/>
                    <a:pt x="803" y="1778"/>
                  </a:cubicBezTo>
                  <a:cubicBezTo>
                    <a:pt x="803" y="1784"/>
                    <a:pt x="801" y="1785"/>
                    <a:pt x="795" y="1785"/>
                  </a:cubicBezTo>
                  <a:cubicBezTo>
                    <a:pt x="705" y="1773"/>
                    <a:pt x="619" y="1750"/>
                    <a:pt x="536" y="1714"/>
                  </a:cubicBezTo>
                  <a:cubicBezTo>
                    <a:pt x="462" y="1681"/>
                    <a:pt x="393" y="1638"/>
                    <a:pt x="330" y="1586"/>
                  </a:cubicBezTo>
                  <a:cubicBezTo>
                    <a:pt x="243" y="1514"/>
                    <a:pt x="171" y="1428"/>
                    <a:pt x="116" y="1329"/>
                  </a:cubicBezTo>
                  <a:cubicBezTo>
                    <a:pt x="70" y="1246"/>
                    <a:pt x="38" y="1158"/>
                    <a:pt x="20" y="1065"/>
                  </a:cubicBezTo>
                  <a:cubicBezTo>
                    <a:pt x="3" y="979"/>
                    <a:pt x="0" y="893"/>
                    <a:pt x="9" y="805"/>
                  </a:cubicBezTo>
                  <a:cubicBezTo>
                    <a:pt x="19" y="698"/>
                    <a:pt x="48" y="597"/>
                    <a:pt x="96" y="500"/>
                  </a:cubicBezTo>
                  <a:cubicBezTo>
                    <a:pt x="137" y="416"/>
                    <a:pt x="190" y="341"/>
                    <a:pt x="255" y="273"/>
                  </a:cubicBezTo>
                  <a:cubicBezTo>
                    <a:pt x="332" y="194"/>
                    <a:pt x="421" y="130"/>
                    <a:pt x="522" y="83"/>
                  </a:cubicBezTo>
                  <a:cubicBezTo>
                    <a:pt x="612" y="41"/>
                    <a:pt x="707" y="15"/>
                    <a:pt x="807" y="5"/>
                  </a:cubicBezTo>
                  <a:cubicBezTo>
                    <a:pt x="836" y="2"/>
                    <a:pt x="865" y="0"/>
                    <a:pt x="895" y="0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64000"/>
              </a:schemeClr>
            </a:solidFill>
            <a:ln w="9525">
              <a:noFill/>
              <a:round/>
              <a:headEnd/>
              <a:tailEnd/>
            </a:ln>
            <a:effectLst>
              <a:outerShdw blurRad="215900" dist="38100" dir="2700000" algn="tl" rotWithShape="0">
                <a:prstClr val="black">
                  <a:alpha val="55000"/>
                </a:prstClr>
              </a:outerShdw>
            </a:effectLst>
            <a:sp3d z="-292100" extrusionH="400050" prstMaterial="flat">
              <a:bevelT w="101600" h="1016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9225" name="Freeform 9"/>
            <p:cNvSpPr>
              <a:spLocks/>
            </p:cNvSpPr>
            <p:nvPr/>
          </p:nvSpPr>
          <p:spPr bwMode="auto">
            <a:xfrm>
              <a:off x="6847569" y="2690653"/>
              <a:ext cx="3163888" cy="3914775"/>
            </a:xfrm>
            <a:custGeom>
              <a:avLst/>
              <a:gdLst/>
              <a:ahLst/>
              <a:cxnLst>
                <a:cxn ang="0">
                  <a:pos x="95" y="1230"/>
                </a:cxn>
                <a:cxn ang="0">
                  <a:pos x="7" y="1226"/>
                </a:cxn>
                <a:cxn ang="0">
                  <a:pos x="0" y="1219"/>
                </a:cxn>
                <a:cxn ang="0">
                  <a:pos x="10" y="1132"/>
                </a:cxn>
                <a:cxn ang="0">
                  <a:pos x="21" y="1035"/>
                </a:cxn>
                <a:cxn ang="0">
                  <a:pos x="34" y="917"/>
                </a:cxn>
                <a:cxn ang="0">
                  <a:pos x="44" y="822"/>
                </a:cxn>
                <a:cxn ang="0">
                  <a:pos x="54" y="728"/>
                </a:cxn>
                <a:cxn ang="0">
                  <a:pos x="65" y="629"/>
                </a:cxn>
                <a:cxn ang="0">
                  <a:pos x="78" y="514"/>
                </a:cxn>
                <a:cxn ang="0">
                  <a:pos x="90" y="401"/>
                </a:cxn>
                <a:cxn ang="0">
                  <a:pos x="97" y="343"/>
                </a:cxn>
                <a:cxn ang="0">
                  <a:pos x="107" y="331"/>
                </a:cxn>
                <a:cxn ang="0">
                  <a:pos x="306" y="251"/>
                </a:cxn>
                <a:cxn ang="0">
                  <a:pos x="582" y="139"/>
                </a:cxn>
                <a:cxn ang="0">
                  <a:pos x="919" y="4"/>
                </a:cxn>
                <a:cxn ang="0">
                  <a:pos x="933" y="10"/>
                </a:cxn>
                <a:cxn ang="0">
                  <a:pos x="980" y="174"/>
                </a:cxn>
                <a:cxn ang="0">
                  <a:pos x="993" y="285"/>
                </a:cxn>
                <a:cxn ang="0">
                  <a:pos x="994" y="355"/>
                </a:cxn>
                <a:cxn ang="0">
                  <a:pos x="956" y="593"/>
                </a:cxn>
                <a:cxn ang="0">
                  <a:pos x="848" y="825"/>
                </a:cxn>
                <a:cxn ang="0">
                  <a:pos x="644" y="1045"/>
                </a:cxn>
                <a:cxn ang="0">
                  <a:pos x="386" y="1183"/>
                </a:cxn>
                <a:cxn ang="0">
                  <a:pos x="211" y="1223"/>
                </a:cxn>
                <a:cxn ang="0">
                  <a:pos x="95" y="1230"/>
                </a:cxn>
              </a:cxnLst>
              <a:rect l="0" t="0" r="r" b="b"/>
              <a:pathLst>
                <a:path w="995" h="1231">
                  <a:moveTo>
                    <a:pt x="95" y="1230"/>
                  </a:moveTo>
                  <a:cubicBezTo>
                    <a:pt x="67" y="1231"/>
                    <a:pt x="37" y="1228"/>
                    <a:pt x="7" y="1226"/>
                  </a:cubicBezTo>
                  <a:cubicBezTo>
                    <a:pt x="3" y="1226"/>
                    <a:pt x="0" y="1225"/>
                    <a:pt x="0" y="1219"/>
                  </a:cubicBezTo>
                  <a:cubicBezTo>
                    <a:pt x="4" y="1190"/>
                    <a:pt x="7" y="1161"/>
                    <a:pt x="10" y="1132"/>
                  </a:cubicBezTo>
                  <a:cubicBezTo>
                    <a:pt x="14" y="1099"/>
                    <a:pt x="18" y="1067"/>
                    <a:pt x="21" y="1035"/>
                  </a:cubicBezTo>
                  <a:cubicBezTo>
                    <a:pt x="25" y="995"/>
                    <a:pt x="30" y="956"/>
                    <a:pt x="34" y="917"/>
                  </a:cubicBezTo>
                  <a:cubicBezTo>
                    <a:pt x="38" y="885"/>
                    <a:pt x="41" y="853"/>
                    <a:pt x="44" y="822"/>
                  </a:cubicBezTo>
                  <a:cubicBezTo>
                    <a:pt x="48" y="791"/>
                    <a:pt x="51" y="760"/>
                    <a:pt x="54" y="728"/>
                  </a:cubicBezTo>
                  <a:cubicBezTo>
                    <a:pt x="58" y="695"/>
                    <a:pt x="62" y="662"/>
                    <a:pt x="65" y="629"/>
                  </a:cubicBezTo>
                  <a:cubicBezTo>
                    <a:pt x="70" y="590"/>
                    <a:pt x="74" y="552"/>
                    <a:pt x="78" y="514"/>
                  </a:cubicBezTo>
                  <a:cubicBezTo>
                    <a:pt x="82" y="477"/>
                    <a:pt x="86" y="439"/>
                    <a:pt x="90" y="401"/>
                  </a:cubicBezTo>
                  <a:cubicBezTo>
                    <a:pt x="92" y="382"/>
                    <a:pt x="95" y="362"/>
                    <a:pt x="97" y="343"/>
                  </a:cubicBezTo>
                  <a:cubicBezTo>
                    <a:pt x="97" y="336"/>
                    <a:pt x="101" y="333"/>
                    <a:pt x="107" y="331"/>
                  </a:cubicBezTo>
                  <a:cubicBezTo>
                    <a:pt x="173" y="305"/>
                    <a:pt x="239" y="278"/>
                    <a:pt x="306" y="251"/>
                  </a:cubicBezTo>
                  <a:cubicBezTo>
                    <a:pt x="398" y="214"/>
                    <a:pt x="490" y="177"/>
                    <a:pt x="582" y="139"/>
                  </a:cubicBezTo>
                  <a:cubicBezTo>
                    <a:pt x="694" y="94"/>
                    <a:pt x="807" y="49"/>
                    <a:pt x="919" y="4"/>
                  </a:cubicBezTo>
                  <a:cubicBezTo>
                    <a:pt x="927" y="0"/>
                    <a:pt x="930" y="1"/>
                    <a:pt x="933" y="10"/>
                  </a:cubicBezTo>
                  <a:cubicBezTo>
                    <a:pt x="954" y="63"/>
                    <a:pt x="970" y="117"/>
                    <a:pt x="980" y="174"/>
                  </a:cubicBezTo>
                  <a:cubicBezTo>
                    <a:pt x="987" y="210"/>
                    <a:pt x="991" y="247"/>
                    <a:pt x="993" y="285"/>
                  </a:cubicBezTo>
                  <a:cubicBezTo>
                    <a:pt x="994" y="308"/>
                    <a:pt x="995" y="331"/>
                    <a:pt x="994" y="355"/>
                  </a:cubicBezTo>
                  <a:cubicBezTo>
                    <a:pt x="992" y="436"/>
                    <a:pt x="980" y="515"/>
                    <a:pt x="956" y="593"/>
                  </a:cubicBezTo>
                  <a:cubicBezTo>
                    <a:pt x="931" y="676"/>
                    <a:pt x="895" y="753"/>
                    <a:pt x="848" y="825"/>
                  </a:cubicBezTo>
                  <a:cubicBezTo>
                    <a:pt x="793" y="910"/>
                    <a:pt x="725" y="983"/>
                    <a:pt x="644" y="1045"/>
                  </a:cubicBezTo>
                  <a:cubicBezTo>
                    <a:pt x="566" y="1105"/>
                    <a:pt x="480" y="1151"/>
                    <a:pt x="386" y="1183"/>
                  </a:cubicBezTo>
                  <a:cubicBezTo>
                    <a:pt x="329" y="1202"/>
                    <a:pt x="271" y="1216"/>
                    <a:pt x="211" y="1223"/>
                  </a:cubicBezTo>
                  <a:cubicBezTo>
                    <a:pt x="173" y="1227"/>
                    <a:pt x="135" y="1231"/>
                    <a:pt x="95" y="12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>
              <a:outerShdw blurRad="165100" dist="38100" dir="2700000" algn="tl" rotWithShape="0">
                <a:prstClr val="black">
                  <a:alpha val="62000"/>
                </a:prstClr>
              </a:outerShdw>
            </a:effectLst>
            <a:sp3d z="-603250" extrusionH="88900" prstMaterial="flat">
              <a:bevelT w="101600" h="1016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50" name="Прямая со стрелкой 49"/>
          <p:cNvCxnSpPr/>
          <p:nvPr/>
        </p:nvCxnSpPr>
        <p:spPr>
          <a:xfrm>
            <a:off x="428515" y="2263328"/>
            <a:ext cx="471077" cy="558394"/>
          </a:xfrm>
          <a:prstGeom prst="straightConnector1">
            <a:avLst/>
          </a:prstGeom>
          <a:ln w="698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204362" y="1500174"/>
            <a:ext cx="1652994" cy="721717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 351,1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76%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3" name="Группа 4"/>
          <p:cNvGrpSpPr/>
          <p:nvPr/>
        </p:nvGrpSpPr>
        <p:grpSpPr>
          <a:xfrm>
            <a:off x="611560" y="4549914"/>
            <a:ext cx="1951986" cy="579646"/>
            <a:chOff x="611560" y="4365104"/>
            <a:chExt cx="1951986" cy="579646"/>
          </a:xfrm>
        </p:grpSpPr>
        <p:sp>
          <p:nvSpPr>
            <p:cNvPr id="8" name="Овал 7"/>
            <p:cNvSpPr/>
            <p:nvPr/>
          </p:nvSpPr>
          <p:spPr>
            <a:xfrm>
              <a:off x="611560" y="4496293"/>
              <a:ext cx="360040" cy="3600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/>
            </a:scene3d>
            <a:sp3d prstMaterial="flat">
              <a:bevelT w="254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>
                <a:lnSpc>
                  <a:spcPts val="1900"/>
                </a:lnSpc>
              </a:pPr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971600" y="4365104"/>
              <a:ext cx="1591946" cy="5796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сего расходов</a:t>
              </a:r>
            </a:p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в </a:t>
              </a:r>
              <a:r>
                <a:rPr lang="ru-RU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1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году</a:t>
              </a:r>
            </a:p>
          </p:txBody>
        </p:sp>
      </p:grpSp>
      <p:grpSp>
        <p:nvGrpSpPr>
          <p:cNvPr id="4" name="Группа 5"/>
          <p:cNvGrpSpPr/>
          <p:nvPr/>
        </p:nvGrpSpPr>
        <p:grpSpPr>
          <a:xfrm>
            <a:off x="611560" y="5197986"/>
            <a:ext cx="2794474" cy="823302"/>
            <a:chOff x="611560" y="5013176"/>
            <a:chExt cx="2794474" cy="823302"/>
          </a:xfrm>
        </p:grpSpPr>
        <p:sp>
          <p:nvSpPr>
            <p:cNvPr id="67" name="Овал 66"/>
            <p:cNvSpPr/>
            <p:nvPr/>
          </p:nvSpPr>
          <p:spPr>
            <a:xfrm>
              <a:off x="611560" y="5144365"/>
              <a:ext cx="360040" cy="36004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/>
            </a:scene3d>
            <a:sp3d prstMaterial="flat">
              <a:bevelT w="254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>
                <a:lnSpc>
                  <a:spcPts val="1900"/>
                </a:lnSpc>
              </a:pPr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971600" y="5013176"/>
              <a:ext cx="2434434" cy="8233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асходы на отрасли социально-культурной сферы</a:t>
              </a:r>
            </a:p>
          </p:txBody>
        </p:sp>
      </p:grpSp>
      <p:sp>
        <p:nvSpPr>
          <p:cNvPr id="48" name="Скругленный прямоугольник 47"/>
          <p:cNvSpPr/>
          <p:nvPr/>
        </p:nvSpPr>
        <p:spPr>
          <a:xfrm>
            <a:off x="2214546" y="1428736"/>
            <a:ext cx="1581896" cy="714380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1900"/>
              </a:lnSpc>
            </a:pPr>
            <a:r>
              <a:rPr lang="ru-RU" b="1" dirty="0" smtClean="0">
                <a:solidFill>
                  <a:schemeClr val="tx1"/>
                </a:solidFill>
              </a:rPr>
              <a:t>1 768,4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323528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по отдельным направлениям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4143372" y="1714488"/>
            <a:ext cx="4500594" cy="500066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бразование (904,2  млн. руб.) - 51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4143372" y="2357430"/>
            <a:ext cx="4500594" cy="571504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оциальная политика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379,4 млн. руб.) - 21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4143372" y="5715016"/>
            <a:ext cx="4500594" cy="571504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изическая культура и спорт 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17,6  млн. руб.) - 1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4143372" y="5072074"/>
            <a:ext cx="4500594" cy="500066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Культура (49,9  млн. руб.) - 3%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83" name="Прямая со стрелкой 82"/>
          <p:cNvCxnSpPr/>
          <p:nvPr/>
        </p:nvCxnSpPr>
        <p:spPr>
          <a:xfrm rot="5400000">
            <a:off x="2072464" y="2928140"/>
            <a:ext cx="1714512" cy="144464"/>
          </a:xfrm>
          <a:prstGeom prst="straightConnector1">
            <a:avLst/>
          </a:prstGeom>
          <a:ln w="6985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Скругленный прямоугольник 106"/>
          <p:cNvSpPr/>
          <p:nvPr/>
        </p:nvSpPr>
        <p:spPr>
          <a:xfrm>
            <a:off x="4143372" y="3071810"/>
            <a:ext cx="4500594" cy="428628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ЖКХ (190 млн. руб.) - 11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4143372" y="4357694"/>
            <a:ext cx="4500594" cy="571504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ациональная экономика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 (60,5  млн. руб.) - 3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4143372" y="3643314"/>
            <a:ext cx="4500594" cy="571504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бщегосударственные вопросы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 (146,5 млн. руб.) - 8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0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7</a:t>
            </a:r>
          </a:p>
        </p:txBody>
      </p:sp>
    </p:spTree>
    <p:extLst>
      <p:ext uri="{BB962C8B-B14F-4D97-AF65-F5344CB8AC3E}">
        <p14:creationId xmlns:p14="http://schemas.microsoft.com/office/powerpoint/2010/main" xmlns="" val="5276630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48" grpId="0" animBg="1"/>
      <p:bldP spid="70" grpId="0" animBg="1"/>
      <p:bldP spid="74" grpId="0" animBg="1"/>
      <p:bldP spid="75" grpId="0" animBg="1"/>
      <p:bldP spid="76" grpId="0" animBg="1"/>
      <p:bldP spid="107" grpId="0" animBg="1"/>
      <p:bldP spid="108" grpId="0" animBg="1"/>
      <p:bldP spid="10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/>
          <p:nvPr/>
        </p:nvGraphicFramePr>
        <p:xfrm>
          <a:off x="285720" y="134076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285720" y="135729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51520" y="42119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10" name="Text Box 14"/>
          <p:cNvSpPr txBox="1">
            <a:spLocks noChangeArrowheads="1"/>
          </p:cNvSpPr>
          <p:nvPr/>
        </p:nvSpPr>
        <p:spPr bwMode="auto">
          <a:xfrm>
            <a:off x="7380312" y="980728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8</a:t>
            </a:r>
          </a:p>
        </p:txBody>
      </p:sp>
    </p:spTree>
    <p:extLst>
      <p:ext uri="{BB962C8B-B14F-4D97-AF65-F5344CB8AC3E}">
        <p14:creationId xmlns="" xmlns:p14="http://schemas.microsoft.com/office/powerpoint/2010/main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yM2BhF0iAg8Rb1.lq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82pUk.HECIl7RnakaI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dkfYmCukC_TBNUSBad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праведливость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праведливость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Справедливость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12663</TotalTime>
  <Words>917</Words>
  <Application>Microsoft Office PowerPoint</Application>
  <PresentationFormat>Экран (4:3)</PresentationFormat>
  <Paragraphs>411</Paragraphs>
  <Slides>21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Справедливость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рищепа Ирина Валерьевна</dc:creator>
  <cp:lastModifiedBy>ZhSuNA</cp:lastModifiedBy>
  <cp:revision>1635</cp:revision>
  <dcterms:created xsi:type="dcterms:W3CDTF">2016-10-21T06:16:50Z</dcterms:created>
  <dcterms:modified xsi:type="dcterms:W3CDTF">2020-12-03T08:20:04Z</dcterms:modified>
</cp:coreProperties>
</file>